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4" r:id="rId7"/>
    <p:sldId id="262" r:id="rId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144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EFB3EE-239E-46DF-A94D-345FADB11DC9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9E1A5C0-41AE-4146-9755-F7B8AC4FFCE0}">
      <dgm:prSet/>
      <dgm:spPr/>
      <dgm:t>
        <a:bodyPr/>
        <a:lstStyle/>
        <a:p>
          <a:r>
            <a:rPr lang="en-US" dirty="0"/>
            <a:t> </a:t>
          </a:r>
          <a:r>
            <a:rPr lang="en-US" dirty="0" err="1"/>
            <a:t>وُلِدت</a:t>
          </a:r>
          <a:r>
            <a:rPr lang="en-US" dirty="0"/>
            <a:t> </a:t>
          </a:r>
          <a:r>
            <a:rPr lang="en-US" dirty="0" err="1"/>
            <a:t>سنة</a:t>
          </a:r>
          <a:r>
            <a:rPr lang="en-US" dirty="0"/>
            <a:t> </a:t>
          </a:r>
          <a:r>
            <a:rPr lang="ar-JO" dirty="0"/>
            <a:t>1843 في القدس</a:t>
          </a:r>
          <a:endParaRPr lang="en-US" dirty="0"/>
        </a:p>
      </dgm:t>
    </dgm:pt>
    <dgm:pt modelId="{60280ECA-290C-44D1-AEC3-895A49488FA0}" type="parTrans" cxnId="{EE43B598-C7E9-4240-96AA-739E7D4D994A}">
      <dgm:prSet/>
      <dgm:spPr/>
      <dgm:t>
        <a:bodyPr/>
        <a:lstStyle/>
        <a:p>
          <a:endParaRPr lang="en-US"/>
        </a:p>
      </dgm:t>
    </dgm:pt>
    <dgm:pt modelId="{14634429-D33B-44D2-A146-20E7FE5333AF}" type="sibTrans" cxnId="{EE43B598-C7E9-4240-96AA-739E7D4D994A}">
      <dgm:prSet/>
      <dgm:spPr/>
      <dgm:t>
        <a:bodyPr/>
        <a:lstStyle/>
        <a:p>
          <a:endParaRPr lang="en-US"/>
        </a:p>
      </dgm:t>
    </dgm:pt>
    <dgm:pt modelId="{0EBE3BA6-C820-4D0E-9884-375B8312D8C7}">
      <dgm:prSet/>
      <dgm:spPr/>
      <dgm:t>
        <a:bodyPr/>
        <a:lstStyle/>
        <a:p>
          <a:r>
            <a:rPr lang="en-US" dirty="0" err="1"/>
            <a:t>دخلت</a:t>
          </a:r>
          <a:r>
            <a:rPr lang="en-US" dirty="0"/>
            <a:t> </a:t>
          </a:r>
          <a:r>
            <a:rPr lang="en-US" dirty="0" err="1"/>
            <a:t>الحياة</a:t>
          </a:r>
          <a:r>
            <a:rPr lang="en-US" dirty="0"/>
            <a:t> </a:t>
          </a:r>
          <a:r>
            <a:rPr lang="en-US" dirty="0" err="1"/>
            <a:t>الرهبانية</a:t>
          </a:r>
          <a:r>
            <a:rPr lang="en-US" dirty="0"/>
            <a:t> </a:t>
          </a:r>
          <a:r>
            <a:rPr lang="en-US" dirty="0" err="1"/>
            <a:t>وهي</a:t>
          </a:r>
          <a:r>
            <a:rPr lang="en-US" dirty="0"/>
            <a:t> </a:t>
          </a:r>
          <a:r>
            <a:rPr lang="en-US" dirty="0" err="1"/>
            <a:t>شابة</a:t>
          </a:r>
          <a:endParaRPr lang="en-US" dirty="0"/>
        </a:p>
      </dgm:t>
    </dgm:pt>
    <dgm:pt modelId="{C771BE16-F0C4-40AC-ABF4-CB916C11BF1D}" type="parTrans" cxnId="{62B03DFF-D335-4DB5-BB47-FC3BF76911E9}">
      <dgm:prSet/>
      <dgm:spPr/>
      <dgm:t>
        <a:bodyPr/>
        <a:lstStyle/>
        <a:p>
          <a:endParaRPr lang="en-US"/>
        </a:p>
      </dgm:t>
    </dgm:pt>
    <dgm:pt modelId="{841C420D-8AB3-433D-94A7-73A21CFC8378}" type="sibTrans" cxnId="{62B03DFF-D335-4DB5-BB47-FC3BF76911E9}">
      <dgm:prSet/>
      <dgm:spPr/>
      <dgm:t>
        <a:bodyPr/>
        <a:lstStyle/>
        <a:p>
          <a:endParaRPr lang="en-US"/>
        </a:p>
      </dgm:t>
    </dgm:pt>
    <dgm:pt modelId="{344B9562-E790-4802-8B19-50C666696FA6}">
      <dgm:prSet/>
      <dgm:spPr/>
      <dgm:t>
        <a:bodyPr/>
        <a:lstStyle/>
        <a:p>
          <a:r>
            <a:rPr lang="en-US" dirty="0"/>
            <a:t> </a:t>
          </a:r>
          <a:r>
            <a:rPr lang="en-US" dirty="0" err="1"/>
            <a:t>كرّست</a:t>
          </a:r>
          <a:r>
            <a:rPr lang="en-US" dirty="0"/>
            <a:t> </a:t>
          </a:r>
          <a:r>
            <a:rPr lang="en-US" dirty="0" err="1"/>
            <a:t>حياتها</a:t>
          </a:r>
          <a:r>
            <a:rPr lang="en-US" dirty="0"/>
            <a:t> </a:t>
          </a:r>
          <a:r>
            <a:rPr lang="en-US" dirty="0" err="1"/>
            <a:t>للتعليم</a:t>
          </a:r>
          <a:r>
            <a:rPr lang="en-US" dirty="0"/>
            <a:t> </a:t>
          </a:r>
          <a:r>
            <a:rPr lang="en-US" dirty="0" err="1"/>
            <a:t>وخدمة</a:t>
          </a:r>
          <a:r>
            <a:rPr lang="en-US" dirty="0"/>
            <a:t> </a:t>
          </a:r>
          <a:r>
            <a:rPr lang="en-US" dirty="0" err="1"/>
            <a:t>الفقراء</a:t>
          </a:r>
          <a:endParaRPr lang="en-US" dirty="0"/>
        </a:p>
      </dgm:t>
    </dgm:pt>
    <dgm:pt modelId="{DC7E4D07-3DE5-4555-9648-FFFFF26533B0}" type="parTrans" cxnId="{4BCAA842-C3BF-4E78-9154-3895BC9DE26F}">
      <dgm:prSet/>
      <dgm:spPr/>
      <dgm:t>
        <a:bodyPr/>
        <a:lstStyle/>
        <a:p>
          <a:endParaRPr lang="en-US"/>
        </a:p>
      </dgm:t>
    </dgm:pt>
    <dgm:pt modelId="{E3CE2E8F-EE37-4AF1-935B-5AA4FCD3EC29}" type="sibTrans" cxnId="{4BCAA842-C3BF-4E78-9154-3895BC9DE26F}">
      <dgm:prSet/>
      <dgm:spPr/>
      <dgm:t>
        <a:bodyPr/>
        <a:lstStyle/>
        <a:p>
          <a:endParaRPr lang="en-US"/>
        </a:p>
      </dgm:t>
    </dgm:pt>
    <dgm:pt modelId="{30DB5918-4FE0-4048-A466-D55450DB119D}">
      <dgm:prSet/>
      <dgm:spPr/>
      <dgm:t>
        <a:bodyPr/>
        <a:lstStyle/>
        <a:p>
          <a:r>
            <a:rPr lang="en-US" dirty="0" err="1"/>
            <a:t>أسست</a:t>
          </a:r>
          <a:r>
            <a:rPr lang="en-US" dirty="0"/>
            <a:t> </a:t>
          </a:r>
          <a:r>
            <a:rPr lang="en-US" dirty="0" err="1"/>
            <a:t>رهبانية</a:t>
          </a:r>
          <a:r>
            <a:rPr lang="en-US" dirty="0"/>
            <a:t> </a:t>
          </a:r>
          <a:r>
            <a:rPr lang="en-US" dirty="0" err="1"/>
            <a:t>الوردية</a:t>
          </a:r>
          <a:r>
            <a:rPr lang="en-US" dirty="0"/>
            <a:t> </a:t>
          </a:r>
          <a:r>
            <a:rPr lang="en-US" dirty="0" err="1"/>
            <a:t>بعد</a:t>
          </a:r>
          <a:r>
            <a:rPr lang="en-US" dirty="0"/>
            <a:t> </a:t>
          </a:r>
          <a:r>
            <a:rPr lang="en-US" dirty="0" err="1"/>
            <a:t>ظهور</a:t>
          </a:r>
          <a:r>
            <a:rPr lang="en-US" dirty="0"/>
            <a:t> </a:t>
          </a:r>
          <a:r>
            <a:rPr lang="en-US" dirty="0" err="1"/>
            <a:t>العذراء</a:t>
          </a:r>
          <a:r>
            <a:rPr lang="en-US" dirty="0"/>
            <a:t> </a:t>
          </a:r>
          <a:r>
            <a:rPr lang="en-US" dirty="0" err="1"/>
            <a:t>لها</a:t>
          </a:r>
          <a:endParaRPr lang="en-US" dirty="0"/>
        </a:p>
      </dgm:t>
    </dgm:pt>
    <dgm:pt modelId="{E36FA7BA-87AF-40F5-99EB-686C7A9C9FCD}" type="parTrans" cxnId="{0E95E111-2A14-45C4-9208-CD142EEFB104}">
      <dgm:prSet/>
      <dgm:spPr/>
      <dgm:t>
        <a:bodyPr/>
        <a:lstStyle/>
        <a:p>
          <a:endParaRPr lang="en-US"/>
        </a:p>
      </dgm:t>
    </dgm:pt>
    <dgm:pt modelId="{7D9BD110-2500-4E65-8ED2-7AD4F33ABE04}" type="sibTrans" cxnId="{0E95E111-2A14-45C4-9208-CD142EEFB104}">
      <dgm:prSet/>
      <dgm:spPr/>
      <dgm:t>
        <a:bodyPr/>
        <a:lstStyle/>
        <a:p>
          <a:endParaRPr lang="en-US"/>
        </a:p>
      </dgm:t>
    </dgm:pt>
    <dgm:pt modelId="{F036FB1B-D939-4558-A7F7-8F7C38ACE80E}" type="pres">
      <dgm:prSet presAssocID="{75EFB3EE-239E-46DF-A94D-345FADB11DC9}" presName="diagram" presStyleCnt="0">
        <dgm:presLayoutVars>
          <dgm:dir/>
          <dgm:resizeHandles val="exact"/>
        </dgm:presLayoutVars>
      </dgm:prSet>
      <dgm:spPr/>
    </dgm:pt>
    <dgm:pt modelId="{62CD1035-14E4-4430-9825-43B45E94185C}" type="pres">
      <dgm:prSet presAssocID="{C9E1A5C0-41AE-4146-9755-F7B8AC4FFCE0}" presName="node" presStyleLbl="node1" presStyleIdx="0" presStyleCnt="4">
        <dgm:presLayoutVars>
          <dgm:bulletEnabled val="1"/>
        </dgm:presLayoutVars>
      </dgm:prSet>
      <dgm:spPr/>
    </dgm:pt>
    <dgm:pt modelId="{AAA052B2-B3E5-488C-A89F-429CD9D4A376}" type="pres">
      <dgm:prSet presAssocID="{14634429-D33B-44D2-A146-20E7FE5333AF}" presName="sibTrans" presStyleCnt="0"/>
      <dgm:spPr/>
    </dgm:pt>
    <dgm:pt modelId="{11C367BF-27C8-423F-9D28-77C3D48F1DE4}" type="pres">
      <dgm:prSet presAssocID="{0EBE3BA6-C820-4D0E-9884-375B8312D8C7}" presName="node" presStyleLbl="node1" presStyleIdx="1" presStyleCnt="4">
        <dgm:presLayoutVars>
          <dgm:bulletEnabled val="1"/>
        </dgm:presLayoutVars>
      </dgm:prSet>
      <dgm:spPr/>
    </dgm:pt>
    <dgm:pt modelId="{304AFCC0-01A9-4A47-85DA-36F21266905C}" type="pres">
      <dgm:prSet presAssocID="{841C420D-8AB3-433D-94A7-73A21CFC8378}" presName="sibTrans" presStyleCnt="0"/>
      <dgm:spPr/>
    </dgm:pt>
    <dgm:pt modelId="{89CFB9E5-EBCD-4B2C-85C3-6871360C2113}" type="pres">
      <dgm:prSet presAssocID="{344B9562-E790-4802-8B19-50C666696FA6}" presName="node" presStyleLbl="node1" presStyleIdx="2" presStyleCnt="4">
        <dgm:presLayoutVars>
          <dgm:bulletEnabled val="1"/>
        </dgm:presLayoutVars>
      </dgm:prSet>
      <dgm:spPr/>
    </dgm:pt>
    <dgm:pt modelId="{6CF4B615-3F1D-4BFA-AF32-29AEBE8E9321}" type="pres">
      <dgm:prSet presAssocID="{E3CE2E8F-EE37-4AF1-935B-5AA4FCD3EC29}" presName="sibTrans" presStyleCnt="0"/>
      <dgm:spPr/>
    </dgm:pt>
    <dgm:pt modelId="{CE8615C5-1AA5-42F2-A6C1-68114712DA9E}" type="pres">
      <dgm:prSet presAssocID="{30DB5918-4FE0-4048-A466-D55450DB119D}" presName="node" presStyleLbl="node1" presStyleIdx="3" presStyleCnt="4">
        <dgm:presLayoutVars>
          <dgm:bulletEnabled val="1"/>
        </dgm:presLayoutVars>
      </dgm:prSet>
      <dgm:spPr/>
    </dgm:pt>
  </dgm:ptLst>
  <dgm:cxnLst>
    <dgm:cxn modelId="{0E95E111-2A14-45C4-9208-CD142EEFB104}" srcId="{75EFB3EE-239E-46DF-A94D-345FADB11DC9}" destId="{30DB5918-4FE0-4048-A466-D55450DB119D}" srcOrd="3" destOrd="0" parTransId="{E36FA7BA-87AF-40F5-99EB-686C7A9C9FCD}" sibTransId="{7D9BD110-2500-4E65-8ED2-7AD4F33ABE04}"/>
    <dgm:cxn modelId="{65BBB021-2366-40CC-97BF-18D3E7BB2D4C}" type="presOf" srcId="{344B9562-E790-4802-8B19-50C666696FA6}" destId="{89CFB9E5-EBCD-4B2C-85C3-6871360C2113}" srcOrd="0" destOrd="0" presId="urn:microsoft.com/office/officeart/2005/8/layout/default"/>
    <dgm:cxn modelId="{4BCAA842-C3BF-4E78-9154-3895BC9DE26F}" srcId="{75EFB3EE-239E-46DF-A94D-345FADB11DC9}" destId="{344B9562-E790-4802-8B19-50C666696FA6}" srcOrd="2" destOrd="0" parTransId="{DC7E4D07-3DE5-4555-9648-FFFFF26533B0}" sibTransId="{E3CE2E8F-EE37-4AF1-935B-5AA4FCD3EC29}"/>
    <dgm:cxn modelId="{EE43B598-C7E9-4240-96AA-739E7D4D994A}" srcId="{75EFB3EE-239E-46DF-A94D-345FADB11DC9}" destId="{C9E1A5C0-41AE-4146-9755-F7B8AC4FFCE0}" srcOrd="0" destOrd="0" parTransId="{60280ECA-290C-44D1-AEC3-895A49488FA0}" sibTransId="{14634429-D33B-44D2-A146-20E7FE5333AF}"/>
    <dgm:cxn modelId="{EBDC2BE5-7C4E-4DB8-999A-205ECC613CFB}" type="presOf" srcId="{C9E1A5C0-41AE-4146-9755-F7B8AC4FFCE0}" destId="{62CD1035-14E4-4430-9825-43B45E94185C}" srcOrd="0" destOrd="0" presId="urn:microsoft.com/office/officeart/2005/8/layout/default"/>
    <dgm:cxn modelId="{D69A3AEB-777B-4780-9ED9-FA2BD0FC26E8}" type="presOf" srcId="{0EBE3BA6-C820-4D0E-9884-375B8312D8C7}" destId="{11C367BF-27C8-423F-9D28-77C3D48F1DE4}" srcOrd="0" destOrd="0" presId="urn:microsoft.com/office/officeart/2005/8/layout/default"/>
    <dgm:cxn modelId="{F68D3BEB-F051-4FE4-9FBC-30E19AEA7487}" type="presOf" srcId="{75EFB3EE-239E-46DF-A94D-345FADB11DC9}" destId="{F036FB1B-D939-4558-A7F7-8F7C38ACE80E}" srcOrd="0" destOrd="0" presId="urn:microsoft.com/office/officeart/2005/8/layout/default"/>
    <dgm:cxn modelId="{BE08E8EC-7080-41CC-A426-274454E54C7F}" type="presOf" srcId="{30DB5918-4FE0-4048-A466-D55450DB119D}" destId="{CE8615C5-1AA5-42F2-A6C1-68114712DA9E}" srcOrd="0" destOrd="0" presId="urn:microsoft.com/office/officeart/2005/8/layout/default"/>
    <dgm:cxn modelId="{62B03DFF-D335-4DB5-BB47-FC3BF76911E9}" srcId="{75EFB3EE-239E-46DF-A94D-345FADB11DC9}" destId="{0EBE3BA6-C820-4D0E-9884-375B8312D8C7}" srcOrd="1" destOrd="0" parTransId="{C771BE16-F0C4-40AC-ABF4-CB916C11BF1D}" sibTransId="{841C420D-8AB3-433D-94A7-73A21CFC8378}"/>
    <dgm:cxn modelId="{15D2A3AB-30E9-4017-88AD-A0744669BE33}" type="presParOf" srcId="{F036FB1B-D939-4558-A7F7-8F7C38ACE80E}" destId="{62CD1035-14E4-4430-9825-43B45E94185C}" srcOrd="0" destOrd="0" presId="urn:microsoft.com/office/officeart/2005/8/layout/default"/>
    <dgm:cxn modelId="{796C9762-662F-459A-99C7-84575FA8DF8F}" type="presParOf" srcId="{F036FB1B-D939-4558-A7F7-8F7C38ACE80E}" destId="{AAA052B2-B3E5-488C-A89F-429CD9D4A376}" srcOrd="1" destOrd="0" presId="urn:microsoft.com/office/officeart/2005/8/layout/default"/>
    <dgm:cxn modelId="{DB2A77C3-3D62-41BE-8924-1B3E29A689B5}" type="presParOf" srcId="{F036FB1B-D939-4558-A7F7-8F7C38ACE80E}" destId="{11C367BF-27C8-423F-9D28-77C3D48F1DE4}" srcOrd="2" destOrd="0" presId="urn:microsoft.com/office/officeart/2005/8/layout/default"/>
    <dgm:cxn modelId="{EFE17BD1-D59B-451B-A137-F316E3D132FA}" type="presParOf" srcId="{F036FB1B-D939-4558-A7F7-8F7C38ACE80E}" destId="{304AFCC0-01A9-4A47-85DA-36F21266905C}" srcOrd="3" destOrd="0" presId="urn:microsoft.com/office/officeart/2005/8/layout/default"/>
    <dgm:cxn modelId="{0A5A1E5A-062C-4187-9F8B-794F8F7FFD44}" type="presParOf" srcId="{F036FB1B-D939-4558-A7F7-8F7C38ACE80E}" destId="{89CFB9E5-EBCD-4B2C-85C3-6871360C2113}" srcOrd="4" destOrd="0" presId="urn:microsoft.com/office/officeart/2005/8/layout/default"/>
    <dgm:cxn modelId="{B90A640C-3F42-4494-A846-19F6FB6EDFB5}" type="presParOf" srcId="{F036FB1B-D939-4558-A7F7-8F7C38ACE80E}" destId="{6CF4B615-3F1D-4BFA-AF32-29AEBE8E9321}" srcOrd="5" destOrd="0" presId="urn:microsoft.com/office/officeart/2005/8/layout/default"/>
    <dgm:cxn modelId="{1289A365-3D20-46AA-A5E0-351E431AB5A2}" type="presParOf" srcId="{F036FB1B-D939-4558-A7F7-8F7C38ACE80E}" destId="{CE8615C5-1AA5-42F2-A6C1-68114712DA9E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A652FE-4E8D-4631-B79E-C97EBECD449F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09FE88C8-E307-4370-8642-7A6CB94BFEFB}">
      <dgm:prSet/>
      <dgm:spPr/>
      <dgm:t>
        <a:bodyPr/>
        <a:lstStyle/>
        <a:p>
          <a:pPr algn="r" rtl="1"/>
          <a:r>
            <a:rPr lang="en-US" dirty="0"/>
            <a:t>• </a:t>
          </a:r>
          <a:r>
            <a:rPr lang="en-US" dirty="0" err="1"/>
            <a:t>الثقة</a:t>
          </a:r>
          <a:r>
            <a:rPr lang="en-US" dirty="0"/>
            <a:t> </a:t>
          </a:r>
          <a:r>
            <a:rPr lang="en-US" dirty="0" err="1"/>
            <a:t>الكاملة</a:t>
          </a:r>
          <a:r>
            <a:rPr lang="en-US" dirty="0"/>
            <a:t> </a:t>
          </a:r>
          <a:r>
            <a:rPr lang="en-US" dirty="0" err="1"/>
            <a:t>بالله</a:t>
          </a:r>
          <a:endParaRPr lang="en-US" dirty="0"/>
        </a:p>
      </dgm:t>
    </dgm:pt>
    <dgm:pt modelId="{7C650543-F425-4B3B-9FC2-63C463D28A79}" type="parTrans" cxnId="{9D0E670B-AB68-4D89-8E53-1BDD962EBEFD}">
      <dgm:prSet/>
      <dgm:spPr/>
      <dgm:t>
        <a:bodyPr/>
        <a:lstStyle/>
        <a:p>
          <a:endParaRPr lang="en-US"/>
        </a:p>
      </dgm:t>
    </dgm:pt>
    <dgm:pt modelId="{F53FF688-2D5D-45E6-BE24-0167327AF3C8}" type="sibTrans" cxnId="{9D0E670B-AB68-4D89-8E53-1BDD962EBEFD}">
      <dgm:prSet/>
      <dgm:spPr/>
      <dgm:t>
        <a:bodyPr/>
        <a:lstStyle/>
        <a:p>
          <a:endParaRPr lang="en-US"/>
        </a:p>
      </dgm:t>
    </dgm:pt>
    <dgm:pt modelId="{E54D441C-4C84-4E74-93A1-CD400C78B9ED}">
      <dgm:prSet/>
      <dgm:spPr/>
      <dgm:t>
        <a:bodyPr/>
        <a:lstStyle/>
        <a:p>
          <a:pPr rtl="1"/>
          <a:r>
            <a:rPr lang="en-US" dirty="0"/>
            <a:t>• </a:t>
          </a:r>
          <a:r>
            <a:rPr lang="en-US" dirty="0" err="1"/>
            <a:t>تصديق</a:t>
          </a:r>
          <a:r>
            <a:rPr lang="en-US" dirty="0"/>
            <a:t> </a:t>
          </a:r>
          <a:r>
            <a:rPr lang="en-US" dirty="0" err="1"/>
            <a:t>وعوده</a:t>
          </a:r>
          <a:r>
            <a:rPr lang="en-US" dirty="0"/>
            <a:t> </a:t>
          </a:r>
          <a:r>
            <a:rPr lang="en-US" dirty="0" err="1"/>
            <a:t>مهما</a:t>
          </a:r>
          <a:r>
            <a:rPr lang="en-US" dirty="0"/>
            <a:t> </a:t>
          </a:r>
          <a:r>
            <a:rPr lang="en-US" dirty="0" err="1"/>
            <a:t>كانت</a:t>
          </a:r>
          <a:r>
            <a:rPr lang="en-US" dirty="0"/>
            <a:t> </a:t>
          </a:r>
          <a:r>
            <a:rPr lang="en-US" dirty="0" err="1"/>
            <a:t>الظروف</a:t>
          </a:r>
          <a:endParaRPr lang="en-US" dirty="0"/>
        </a:p>
      </dgm:t>
    </dgm:pt>
    <dgm:pt modelId="{66E174DA-6211-4523-B10F-13979BC37A25}" type="parTrans" cxnId="{0DEC7762-ED96-4F5B-83DA-6669AA6DBF60}">
      <dgm:prSet/>
      <dgm:spPr/>
      <dgm:t>
        <a:bodyPr/>
        <a:lstStyle/>
        <a:p>
          <a:endParaRPr lang="en-US"/>
        </a:p>
      </dgm:t>
    </dgm:pt>
    <dgm:pt modelId="{8D6948F8-01F2-455D-B5A4-48245FA4611A}" type="sibTrans" cxnId="{0DEC7762-ED96-4F5B-83DA-6669AA6DBF60}">
      <dgm:prSet/>
      <dgm:spPr/>
      <dgm:t>
        <a:bodyPr/>
        <a:lstStyle/>
        <a:p>
          <a:endParaRPr lang="en-US"/>
        </a:p>
      </dgm:t>
    </dgm:pt>
    <dgm:pt modelId="{947A05EE-BD92-4054-92FA-C5C302E60080}">
      <dgm:prSet/>
      <dgm:spPr/>
      <dgm:t>
        <a:bodyPr/>
        <a:lstStyle/>
        <a:p>
          <a:pPr rtl="1"/>
          <a:r>
            <a:rPr lang="en-US" dirty="0"/>
            <a:t>• </a:t>
          </a:r>
          <a:r>
            <a:rPr lang="en-US" dirty="0" err="1"/>
            <a:t>اتباع</a:t>
          </a:r>
          <a:r>
            <a:rPr lang="en-US" dirty="0"/>
            <a:t> </a:t>
          </a:r>
          <a:r>
            <a:rPr lang="en-US" dirty="0" err="1"/>
            <a:t>مشيئته</a:t>
          </a:r>
          <a:r>
            <a:rPr lang="en-US" dirty="0"/>
            <a:t> </a:t>
          </a:r>
          <a:r>
            <a:rPr lang="en-US" dirty="0" err="1"/>
            <a:t>في</a:t>
          </a:r>
          <a:r>
            <a:rPr lang="en-US" dirty="0"/>
            <a:t> </a:t>
          </a:r>
          <a:r>
            <a:rPr lang="en-US" dirty="0" err="1"/>
            <a:t>حياتنا</a:t>
          </a:r>
          <a:endParaRPr lang="en-US" dirty="0"/>
        </a:p>
      </dgm:t>
    </dgm:pt>
    <dgm:pt modelId="{9A360D1D-27D6-4B1B-A94B-7289D34DFCF8}" type="parTrans" cxnId="{AFF85F22-66EF-4FDE-AFAB-C6E55953D8AC}">
      <dgm:prSet/>
      <dgm:spPr/>
      <dgm:t>
        <a:bodyPr/>
        <a:lstStyle/>
        <a:p>
          <a:endParaRPr lang="en-US"/>
        </a:p>
      </dgm:t>
    </dgm:pt>
    <dgm:pt modelId="{01269636-2F6A-474A-98BA-C74EC5AD758F}" type="sibTrans" cxnId="{AFF85F22-66EF-4FDE-AFAB-C6E55953D8AC}">
      <dgm:prSet/>
      <dgm:spPr/>
      <dgm:t>
        <a:bodyPr/>
        <a:lstStyle/>
        <a:p>
          <a:endParaRPr lang="en-US"/>
        </a:p>
      </dgm:t>
    </dgm:pt>
    <dgm:pt modelId="{1DB3C33A-56C0-4BC2-AD5E-6997CAE6F7E3}">
      <dgm:prSet/>
      <dgm:spPr/>
      <dgm:t>
        <a:bodyPr/>
        <a:lstStyle/>
        <a:p>
          <a:pPr rtl="1"/>
          <a:r>
            <a:rPr lang="en-US" dirty="0"/>
            <a:t>• </a:t>
          </a:r>
          <a:r>
            <a:rPr lang="en-US" dirty="0" err="1"/>
            <a:t>الإيمان</a:t>
          </a:r>
          <a:r>
            <a:rPr lang="en-US" dirty="0"/>
            <a:t> </a:t>
          </a:r>
          <a:r>
            <a:rPr lang="en-US" dirty="0" err="1"/>
            <a:t>يظهر</a:t>
          </a:r>
          <a:r>
            <a:rPr lang="en-US" dirty="0"/>
            <a:t> </a:t>
          </a:r>
          <a:r>
            <a:rPr lang="en-US" dirty="0" err="1"/>
            <a:t>بالأعمال</a:t>
          </a:r>
          <a:r>
            <a:rPr lang="en-US" dirty="0"/>
            <a:t> </a:t>
          </a:r>
          <a:r>
            <a:rPr lang="en-US" dirty="0" err="1"/>
            <a:t>لا</a:t>
          </a:r>
          <a:r>
            <a:rPr lang="en-US" dirty="0"/>
            <a:t> </a:t>
          </a:r>
          <a:r>
            <a:rPr lang="en-US" dirty="0" err="1"/>
            <a:t>بالكلام</a:t>
          </a:r>
          <a:r>
            <a:rPr lang="en-US" dirty="0"/>
            <a:t> </a:t>
          </a:r>
          <a:r>
            <a:rPr lang="en-US" dirty="0" err="1"/>
            <a:t>فقط</a:t>
          </a:r>
          <a:endParaRPr lang="en-US" dirty="0"/>
        </a:p>
      </dgm:t>
    </dgm:pt>
    <dgm:pt modelId="{C42DD488-DFA9-4AD9-9CE7-0210C1FDAF01}" type="parTrans" cxnId="{840D2CD7-85E9-4826-A9C0-FE4BDA0CF7B6}">
      <dgm:prSet/>
      <dgm:spPr/>
      <dgm:t>
        <a:bodyPr/>
        <a:lstStyle/>
        <a:p>
          <a:endParaRPr lang="en-US"/>
        </a:p>
      </dgm:t>
    </dgm:pt>
    <dgm:pt modelId="{DA01A7F1-6589-42F5-9CC0-0D693E079B5A}" type="sibTrans" cxnId="{840D2CD7-85E9-4826-A9C0-FE4BDA0CF7B6}">
      <dgm:prSet/>
      <dgm:spPr/>
      <dgm:t>
        <a:bodyPr/>
        <a:lstStyle/>
        <a:p>
          <a:endParaRPr lang="en-US"/>
        </a:p>
      </dgm:t>
    </dgm:pt>
    <dgm:pt modelId="{54D1DAE0-37AF-41B2-9BE6-636080C68486}" type="pres">
      <dgm:prSet presAssocID="{42A652FE-4E8D-4631-B79E-C97EBECD449F}" presName="linear" presStyleCnt="0">
        <dgm:presLayoutVars>
          <dgm:animLvl val="lvl"/>
          <dgm:resizeHandles val="exact"/>
        </dgm:presLayoutVars>
      </dgm:prSet>
      <dgm:spPr/>
    </dgm:pt>
    <dgm:pt modelId="{0E5D19AC-92BC-4F53-B667-A95ECD13153B}" type="pres">
      <dgm:prSet presAssocID="{09FE88C8-E307-4370-8642-7A6CB94BFEF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174B28D1-3A3C-40CB-989B-7BD0559AAA47}" type="pres">
      <dgm:prSet presAssocID="{F53FF688-2D5D-45E6-BE24-0167327AF3C8}" presName="spacer" presStyleCnt="0"/>
      <dgm:spPr/>
    </dgm:pt>
    <dgm:pt modelId="{55C5A1B8-AC0A-480C-8320-942EAE5D50D1}" type="pres">
      <dgm:prSet presAssocID="{E54D441C-4C84-4E74-93A1-CD400C78B9ED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C1CD3C0C-FFA2-4D2A-9BDE-0CF2A726DD68}" type="pres">
      <dgm:prSet presAssocID="{8D6948F8-01F2-455D-B5A4-48245FA4611A}" presName="spacer" presStyleCnt="0"/>
      <dgm:spPr/>
    </dgm:pt>
    <dgm:pt modelId="{CF92C293-B13C-4DA0-A02D-ADB58B1585F6}" type="pres">
      <dgm:prSet presAssocID="{947A05EE-BD92-4054-92FA-C5C302E6008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D9468755-F0F2-4DF3-99DD-824EC91A001B}" type="pres">
      <dgm:prSet presAssocID="{01269636-2F6A-474A-98BA-C74EC5AD758F}" presName="spacer" presStyleCnt="0"/>
      <dgm:spPr/>
    </dgm:pt>
    <dgm:pt modelId="{38838959-4881-47E0-B571-BB33118561EB}" type="pres">
      <dgm:prSet presAssocID="{1DB3C33A-56C0-4BC2-AD5E-6997CAE6F7E3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9D0E670B-AB68-4D89-8E53-1BDD962EBEFD}" srcId="{42A652FE-4E8D-4631-B79E-C97EBECD449F}" destId="{09FE88C8-E307-4370-8642-7A6CB94BFEFB}" srcOrd="0" destOrd="0" parTransId="{7C650543-F425-4B3B-9FC2-63C463D28A79}" sibTransId="{F53FF688-2D5D-45E6-BE24-0167327AF3C8}"/>
    <dgm:cxn modelId="{C789390E-8826-4741-A1D5-E0C27A6AD027}" type="presOf" srcId="{947A05EE-BD92-4054-92FA-C5C302E60080}" destId="{CF92C293-B13C-4DA0-A02D-ADB58B1585F6}" srcOrd="0" destOrd="0" presId="urn:microsoft.com/office/officeart/2005/8/layout/vList2"/>
    <dgm:cxn modelId="{AFF85F22-66EF-4FDE-AFAB-C6E55953D8AC}" srcId="{42A652FE-4E8D-4631-B79E-C97EBECD449F}" destId="{947A05EE-BD92-4054-92FA-C5C302E60080}" srcOrd="2" destOrd="0" parTransId="{9A360D1D-27D6-4B1B-A94B-7289D34DFCF8}" sibTransId="{01269636-2F6A-474A-98BA-C74EC5AD758F}"/>
    <dgm:cxn modelId="{B9ED2F3A-5CBD-4780-B577-88872B4A283D}" type="presOf" srcId="{42A652FE-4E8D-4631-B79E-C97EBECD449F}" destId="{54D1DAE0-37AF-41B2-9BE6-636080C68486}" srcOrd="0" destOrd="0" presId="urn:microsoft.com/office/officeart/2005/8/layout/vList2"/>
    <dgm:cxn modelId="{0DEC7762-ED96-4F5B-83DA-6669AA6DBF60}" srcId="{42A652FE-4E8D-4631-B79E-C97EBECD449F}" destId="{E54D441C-4C84-4E74-93A1-CD400C78B9ED}" srcOrd="1" destOrd="0" parTransId="{66E174DA-6211-4523-B10F-13979BC37A25}" sibTransId="{8D6948F8-01F2-455D-B5A4-48245FA4611A}"/>
    <dgm:cxn modelId="{767F6288-61C0-4120-A349-9B00F141CA5D}" type="presOf" srcId="{1DB3C33A-56C0-4BC2-AD5E-6997CAE6F7E3}" destId="{38838959-4881-47E0-B571-BB33118561EB}" srcOrd="0" destOrd="0" presId="urn:microsoft.com/office/officeart/2005/8/layout/vList2"/>
    <dgm:cxn modelId="{5870209F-572A-4AC0-92B7-BE57F890445F}" type="presOf" srcId="{09FE88C8-E307-4370-8642-7A6CB94BFEFB}" destId="{0E5D19AC-92BC-4F53-B667-A95ECD13153B}" srcOrd="0" destOrd="0" presId="urn:microsoft.com/office/officeart/2005/8/layout/vList2"/>
    <dgm:cxn modelId="{840D2CD7-85E9-4826-A9C0-FE4BDA0CF7B6}" srcId="{42A652FE-4E8D-4631-B79E-C97EBECD449F}" destId="{1DB3C33A-56C0-4BC2-AD5E-6997CAE6F7E3}" srcOrd="3" destOrd="0" parTransId="{C42DD488-DFA9-4AD9-9CE7-0210C1FDAF01}" sibTransId="{DA01A7F1-6589-42F5-9CC0-0D693E079B5A}"/>
    <dgm:cxn modelId="{770ACFF3-33C2-4254-8AC3-1998805BF57A}" type="presOf" srcId="{E54D441C-4C84-4E74-93A1-CD400C78B9ED}" destId="{55C5A1B8-AC0A-480C-8320-942EAE5D50D1}" srcOrd="0" destOrd="0" presId="urn:microsoft.com/office/officeart/2005/8/layout/vList2"/>
    <dgm:cxn modelId="{B58A8E71-F296-4F61-81CE-4A903FE0C45F}" type="presParOf" srcId="{54D1DAE0-37AF-41B2-9BE6-636080C68486}" destId="{0E5D19AC-92BC-4F53-B667-A95ECD13153B}" srcOrd="0" destOrd="0" presId="urn:microsoft.com/office/officeart/2005/8/layout/vList2"/>
    <dgm:cxn modelId="{0563B83A-71A9-4C0A-B165-10B0717D8A97}" type="presParOf" srcId="{54D1DAE0-37AF-41B2-9BE6-636080C68486}" destId="{174B28D1-3A3C-40CB-989B-7BD0559AAA47}" srcOrd="1" destOrd="0" presId="urn:microsoft.com/office/officeart/2005/8/layout/vList2"/>
    <dgm:cxn modelId="{B87A89E2-C897-4005-AD75-AB39C021116B}" type="presParOf" srcId="{54D1DAE0-37AF-41B2-9BE6-636080C68486}" destId="{55C5A1B8-AC0A-480C-8320-942EAE5D50D1}" srcOrd="2" destOrd="0" presId="urn:microsoft.com/office/officeart/2005/8/layout/vList2"/>
    <dgm:cxn modelId="{38CCEB45-4C50-41B4-953A-992BC2757285}" type="presParOf" srcId="{54D1DAE0-37AF-41B2-9BE6-636080C68486}" destId="{C1CD3C0C-FFA2-4D2A-9BDE-0CF2A726DD68}" srcOrd="3" destOrd="0" presId="urn:microsoft.com/office/officeart/2005/8/layout/vList2"/>
    <dgm:cxn modelId="{9E0AFAD6-06BB-4BA9-B405-DA26F02511C5}" type="presParOf" srcId="{54D1DAE0-37AF-41B2-9BE6-636080C68486}" destId="{CF92C293-B13C-4DA0-A02D-ADB58B1585F6}" srcOrd="4" destOrd="0" presId="urn:microsoft.com/office/officeart/2005/8/layout/vList2"/>
    <dgm:cxn modelId="{FB13D2AB-DA5E-49E8-9728-FA393F0B09AC}" type="presParOf" srcId="{54D1DAE0-37AF-41B2-9BE6-636080C68486}" destId="{D9468755-F0F2-4DF3-99DD-824EC91A001B}" srcOrd="5" destOrd="0" presId="urn:microsoft.com/office/officeart/2005/8/layout/vList2"/>
    <dgm:cxn modelId="{1DB78AA7-8CFB-4F21-9BEC-3823D79DC581}" type="presParOf" srcId="{54D1DAE0-37AF-41B2-9BE6-636080C68486}" destId="{38838959-4881-47E0-B571-BB33118561EB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EF0E99C-258D-453F-B5EB-FA4C2C70A79C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7858253-54C3-4340-9917-CB7561022D8B}">
      <dgm:prSet/>
      <dgm:spPr/>
      <dgm:t>
        <a:bodyPr/>
        <a:lstStyle/>
        <a:p>
          <a:pPr algn="r" rtl="1"/>
          <a:r>
            <a:rPr lang="en-US" dirty="0" err="1"/>
            <a:t>وثقت</a:t>
          </a:r>
          <a:r>
            <a:rPr lang="en-US" dirty="0"/>
            <a:t> </a:t>
          </a:r>
          <a:r>
            <a:rPr lang="en-US" dirty="0" err="1"/>
            <a:t>بالله</a:t>
          </a:r>
          <a:r>
            <a:rPr lang="en-US" dirty="0"/>
            <a:t> </a:t>
          </a:r>
          <a:r>
            <a:rPr lang="en-US" dirty="0" err="1"/>
            <a:t>في</a:t>
          </a:r>
          <a:r>
            <a:rPr lang="en-US" dirty="0"/>
            <a:t> </a:t>
          </a:r>
          <a:r>
            <a:rPr lang="en-US" dirty="0" err="1"/>
            <a:t>كل</a:t>
          </a:r>
          <a:r>
            <a:rPr lang="en-US" dirty="0"/>
            <a:t> </a:t>
          </a:r>
          <a:r>
            <a:rPr lang="en-US" dirty="0" err="1"/>
            <a:t>خطوات</a:t>
          </a:r>
          <a:r>
            <a:rPr lang="en-US" dirty="0"/>
            <a:t> </a:t>
          </a:r>
          <a:r>
            <a:rPr lang="en-US" dirty="0" err="1"/>
            <a:t>حياتها</a:t>
          </a:r>
          <a:endParaRPr lang="en-US" dirty="0"/>
        </a:p>
      </dgm:t>
    </dgm:pt>
    <dgm:pt modelId="{C8DC8638-1D01-4A8F-AEA0-898810543001}" type="parTrans" cxnId="{7849C885-02DB-4F53-B4B6-485F52F24194}">
      <dgm:prSet/>
      <dgm:spPr/>
      <dgm:t>
        <a:bodyPr/>
        <a:lstStyle/>
        <a:p>
          <a:endParaRPr lang="en-US"/>
        </a:p>
      </dgm:t>
    </dgm:pt>
    <dgm:pt modelId="{B8270129-FE89-456C-8B49-33CAFB748527}" type="sibTrans" cxnId="{7849C885-02DB-4F53-B4B6-485F52F24194}">
      <dgm:prSet/>
      <dgm:spPr/>
      <dgm:t>
        <a:bodyPr/>
        <a:lstStyle/>
        <a:p>
          <a:endParaRPr lang="en-US"/>
        </a:p>
      </dgm:t>
    </dgm:pt>
    <dgm:pt modelId="{C1521581-68BC-4058-AB12-887D2B7A3D59}">
      <dgm:prSet/>
      <dgm:spPr/>
      <dgm:t>
        <a:bodyPr/>
        <a:lstStyle/>
        <a:p>
          <a:pPr algn="r" rtl="1"/>
          <a:r>
            <a:rPr lang="en-US" dirty="0" err="1"/>
            <a:t>استجابت</a:t>
          </a:r>
          <a:r>
            <a:rPr lang="en-US" dirty="0"/>
            <a:t> </a:t>
          </a:r>
          <a:r>
            <a:rPr lang="en-US" dirty="0" err="1"/>
            <a:t>لطلب</a:t>
          </a:r>
          <a:r>
            <a:rPr lang="en-US" dirty="0"/>
            <a:t> </a:t>
          </a:r>
          <a:r>
            <a:rPr lang="en-US" dirty="0" err="1"/>
            <a:t>العذراء</a:t>
          </a:r>
          <a:r>
            <a:rPr lang="en-US" dirty="0"/>
            <a:t> </a:t>
          </a:r>
          <a:r>
            <a:rPr lang="en-US" dirty="0" err="1"/>
            <a:t>دون</a:t>
          </a:r>
          <a:r>
            <a:rPr lang="en-US" dirty="0"/>
            <a:t> </a:t>
          </a:r>
          <a:r>
            <a:rPr lang="en-US" dirty="0" err="1"/>
            <a:t>تردد</a:t>
          </a:r>
          <a:endParaRPr lang="en-US" dirty="0"/>
        </a:p>
      </dgm:t>
    </dgm:pt>
    <dgm:pt modelId="{5FFC5D7C-3F71-4FF6-A5F5-446FF1640F37}" type="parTrans" cxnId="{F370BDF1-5638-4B07-BBB0-5BAE823F5F9F}">
      <dgm:prSet/>
      <dgm:spPr/>
      <dgm:t>
        <a:bodyPr/>
        <a:lstStyle/>
        <a:p>
          <a:endParaRPr lang="en-US"/>
        </a:p>
      </dgm:t>
    </dgm:pt>
    <dgm:pt modelId="{4E9BB3E0-01FB-4F18-9B42-3CC95954DF1E}" type="sibTrans" cxnId="{F370BDF1-5638-4B07-BBB0-5BAE823F5F9F}">
      <dgm:prSet/>
      <dgm:spPr/>
      <dgm:t>
        <a:bodyPr/>
        <a:lstStyle/>
        <a:p>
          <a:endParaRPr lang="en-US"/>
        </a:p>
      </dgm:t>
    </dgm:pt>
    <dgm:pt modelId="{ABFB887B-EE0F-4D4E-8E05-9574F4349EB2}">
      <dgm:prSet/>
      <dgm:spPr/>
      <dgm:t>
        <a:bodyPr/>
        <a:lstStyle/>
        <a:p>
          <a:pPr algn="r" rtl="1"/>
          <a:r>
            <a:rPr lang="en-US" dirty="0" err="1"/>
            <a:t>واجهت</a:t>
          </a:r>
          <a:r>
            <a:rPr lang="en-US" dirty="0"/>
            <a:t> </a:t>
          </a:r>
          <a:r>
            <a:rPr lang="en-US" dirty="0" err="1"/>
            <a:t>الصعوبات</a:t>
          </a:r>
          <a:r>
            <a:rPr lang="en-US" dirty="0"/>
            <a:t> </a:t>
          </a:r>
          <a:r>
            <a:rPr lang="en-US" dirty="0" err="1"/>
            <a:t>بثبات</a:t>
          </a:r>
          <a:r>
            <a:rPr lang="en-US" dirty="0"/>
            <a:t> </a:t>
          </a:r>
          <a:r>
            <a:rPr lang="en-US" dirty="0" err="1"/>
            <a:t>وإيمان</a:t>
          </a:r>
          <a:endParaRPr lang="en-US" dirty="0"/>
        </a:p>
      </dgm:t>
    </dgm:pt>
    <dgm:pt modelId="{158B5CF9-5DB1-4F38-88BB-F80ABEA4B057}" type="parTrans" cxnId="{165130ED-9219-4000-BF5B-F38703A64255}">
      <dgm:prSet/>
      <dgm:spPr/>
      <dgm:t>
        <a:bodyPr/>
        <a:lstStyle/>
        <a:p>
          <a:endParaRPr lang="en-US"/>
        </a:p>
      </dgm:t>
    </dgm:pt>
    <dgm:pt modelId="{19D43410-4434-4FBE-BF19-0CFC31E1B6A8}" type="sibTrans" cxnId="{165130ED-9219-4000-BF5B-F38703A64255}">
      <dgm:prSet/>
      <dgm:spPr/>
      <dgm:t>
        <a:bodyPr/>
        <a:lstStyle/>
        <a:p>
          <a:endParaRPr lang="en-US"/>
        </a:p>
      </dgm:t>
    </dgm:pt>
    <dgm:pt modelId="{7C19B3C8-DB39-4E2B-A37A-543B7BD0DFA7}">
      <dgm:prSet/>
      <dgm:spPr/>
      <dgm:t>
        <a:bodyPr/>
        <a:lstStyle/>
        <a:p>
          <a:pPr algn="r" rtl="1"/>
          <a:r>
            <a:rPr lang="en-US" dirty="0" err="1"/>
            <a:t>كرّست</a:t>
          </a:r>
          <a:r>
            <a:rPr lang="en-US" dirty="0"/>
            <a:t> </a:t>
          </a:r>
          <a:r>
            <a:rPr lang="en-US" dirty="0" err="1"/>
            <a:t>حياتها</a:t>
          </a:r>
          <a:r>
            <a:rPr lang="en-US" dirty="0"/>
            <a:t> </a:t>
          </a:r>
          <a:r>
            <a:rPr lang="en-US" dirty="0" err="1"/>
            <a:t>للتعليم</a:t>
          </a:r>
          <a:r>
            <a:rPr lang="en-US" dirty="0"/>
            <a:t> </a:t>
          </a:r>
          <a:r>
            <a:rPr lang="en-US" dirty="0" err="1"/>
            <a:t>والخدمة</a:t>
          </a:r>
          <a:endParaRPr lang="en-US" dirty="0"/>
        </a:p>
      </dgm:t>
    </dgm:pt>
    <dgm:pt modelId="{CDA573B1-760A-4684-B2F4-B559065B67DE}" type="parTrans" cxnId="{ECC18238-7563-4CB7-B1BD-C8A2866A767F}">
      <dgm:prSet/>
      <dgm:spPr/>
      <dgm:t>
        <a:bodyPr/>
        <a:lstStyle/>
        <a:p>
          <a:endParaRPr lang="en-US"/>
        </a:p>
      </dgm:t>
    </dgm:pt>
    <dgm:pt modelId="{1A0B9278-09A4-41B6-A3E1-771AD322306C}" type="sibTrans" cxnId="{ECC18238-7563-4CB7-B1BD-C8A2866A767F}">
      <dgm:prSet/>
      <dgm:spPr/>
      <dgm:t>
        <a:bodyPr/>
        <a:lstStyle/>
        <a:p>
          <a:endParaRPr lang="en-US"/>
        </a:p>
      </dgm:t>
    </dgm:pt>
    <dgm:pt modelId="{C7BB8A09-88BE-490B-97B0-7675C7D8F9A8}" type="pres">
      <dgm:prSet presAssocID="{6EF0E99C-258D-453F-B5EB-FA4C2C70A79C}" presName="diagram" presStyleCnt="0">
        <dgm:presLayoutVars>
          <dgm:dir/>
          <dgm:resizeHandles val="exact"/>
        </dgm:presLayoutVars>
      </dgm:prSet>
      <dgm:spPr/>
    </dgm:pt>
    <dgm:pt modelId="{EDE5B646-CF1C-4C52-9AC1-011DBA6641F7}" type="pres">
      <dgm:prSet presAssocID="{47858253-54C3-4340-9917-CB7561022D8B}" presName="node" presStyleLbl="node1" presStyleIdx="0" presStyleCnt="4">
        <dgm:presLayoutVars>
          <dgm:bulletEnabled val="1"/>
        </dgm:presLayoutVars>
      </dgm:prSet>
      <dgm:spPr/>
    </dgm:pt>
    <dgm:pt modelId="{809ED9AA-1561-4A72-8DEA-93520887FFE7}" type="pres">
      <dgm:prSet presAssocID="{B8270129-FE89-456C-8B49-33CAFB748527}" presName="sibTrans" presStyleCnt="0"/>
      <dgm:spPr/>
    </dgm:pt>
    <dgm:pt modelId="{62367A92-0F4F-4B18-9D37-7E57EC4C7977}" type="pres">
      <dgm:prSet presAssocID="{C1521581-68BC-4058-AB12-887D2B7A3D59}" presName="node" presStyleLbl="node1" presStyleIdx="1" presStyleCnt="4">
        <dgm:presLayoutVars>
          <dgm:bulletEnabled val="1"/>
        </dgm:presLayoutVars>
      </dgm:prSet>
      <dgm:spPr/>
    </dgm:pt>
    <dgm:pt modelId="{7FD19DCE-2DBF-4401-894B-7E72B043C596}" type="pres">
      <dgm:prSet presAssocID="{4E9BB3E0-01FB-4F18-9B42-3CC95954DF1E}" presName="sibTrans" presStyleCnt="0"/>
      <dgm:spPr/>
    </dgm:pt>
    <dgm:pt modelId="{7126A1AF-DEE7-4344-957C-6C938E180635}" type="pres">
      <dgm:prSet presAssocID="{ABFB887B-EE0F-4D4E-8E05-9574F4349EB2}" presName="node" presStyleLbl="node1" presStyleIdx="2" presStyleCnt="4">
        <dgm:presLayoutVars>
          <dgm:bulletEnabled val="1"/>
        </dgm:presLayoutVars>
      </dgm:prSet>
      <dgm:spPr/>
    </dgm:pt>
    <dgm:pt modelId="{816734D7-ADCC-421A-A3E3-805B9137D1CC}" type="pres">
      <dgm:prSet presAssocID="{19D43410-4434-4FBE-BF19-0CFC31E1B6A8}" presName="sibTrans" presStyleCnt="0"/>
      <dgm:spPr/>
    </dgm:pt>
    <dgm:pt modelId="{6B667D6F-B10D-42C0-BB07-DF0A93EF6F14}" type="pres">
      <dgm:prSet presAssocID="{7C19B3C8-DB39-4E2B-A37A-543B7BD0DFA7}" presName="node" presStyleLbl="node1" presStyleIdx="3" presStyleCnt="4">
        <dgm:presLayoutVars>
          <dgm:bulletEnabled val="1"/>
        </dgm:presLayoutVars>
      </dgm:prSet>
      <dgm:spPr/>
    </dgm:pt>
  </dgm:ptLst>
  <dgm:cxnLst>
    <dgm:cxn modelId="{DADED018-1469-4519-8C89-E96816157D9C}" type="presOf" srcId="{6EF0E99C-258D-453F-B5EB-FA4C2C70A79C}" destId="{C7BB8A09-88BE-490B-97B0-7675C7D8F9A8}" srcOrd="0" destOrd="0" presId="urn:microsoft.com/office/officeart/2005/8/layout/default"/>
    <dgm:cxn modelId="{9AF5211C-960F-4BA5-A285-D0FFCC07915E}" type="presOf" srcId="{C1521581-68BC-4058-AB12-887D2B7A3D59}" destId="{62367A92-0F4F-4B18-9D37-7E57EC4C7977}" srcOrd="0" destOrd="0" presId="urn:microsoft.com/office/officeart/2005/8/layout/default"/>
    <dgm:cxn modelId="{FCA75938-63C7-4E57-B0BA-1395BC0F98DC}" type="presOf" srcId="{47858253-54C3-4340-9917-CB7561022D8B}" destId="{EDE5B646-CF1C-4C52-9AC1-011DBA6641F7}" srcOrd="0" destOrd="0" presId="urn:microsoft.com/office/officeart/2005/8/layout/default"/>
    <dgm:cxn modelId="{ECC18238-7563-4CB7-B1BD-C8A2866A767F}" srcId="{6EF0E99C-258D-453F-B5EB-FA4C2C70A79C}" destId="{7C19B3C8-DB39-4E2B-A37A-543B7BD0DFA7}" srcOrd="3" destOrd="0" parTransId="{CDA573B1-760A-4684-B2F4-B559065B67DE}" sibTransId="{1A0B9278-09A4-41B6-A3E1-771AD322306C}"/>
    <dgm:cxn modelId="{7DF40979-26B3-4D8D-B233-C396912C448C}" type="presOf" srcId="{ABFB887B-EE0F-4D4E-8E05-9574F4349EB2}" destId="{7126A1AF-DEE7-4344-957C-6C938E180635}" srcOrd="0" destOrd="0" presId="urn:microsoft.com/office/officeart/2005/8/layout/default"/>
    <dgm:cxn modelId="{7849C885-02DB-4F53-B4B6-485F52F24194}" srcId="{6EF0E99C-258D-453F-B5EB-FA4C2C70A79C}" destId="{47858253-54C3-4340-9917-CB7561022D8B}" srcOrd="0" destOrd="0" parTransId="{C8DC8638-1D01-4A8F-AEA0-898810543001}" sibTransId="{B8270129-FE89-456C-8B49-33CAFB748527}"/>
    <dgm:cxn modelId="{051B50CC-4264-4B44-8512-230C0DADC49D}" type="presOf" srcId="{7C19B3C8-DB39-4E2B-A37A-543B7BD0DFA7}" destId="{6B667D6F-B10D-42C0-BB07-DF0A93EF6F14}" srcOrd="0" destOrd="0" presId="urn:microsoft.com/office/officeart/2005/8/layout/default"/>
    <dgm:cxn modelId="{165130ED-9219-4000-BF5B-F38703A64255}" srcId="{6EF0E99C-258D-453F-B5EB-FA4C2C70A79C}" destId="{ABFB887B-EE0F-4D4E-8E05-9574F4349EB2}" srcOrd="2" destOrd="0" parTransId="{158B5CF9-5DB1-4F38-88BB-F80ABEA4B057}" sibTransId="{19D43410-4434-4FBE-BF19-0CFC31E1B6A8}"/>
    <dgm:cxn modelId="{F370BDF1-5638-4B07-BBB0-5BAE823F5F9F}" srcId="{6EF0E99C-258D-453F-B5EB-FA4C2C70A79C}" destId="{C1521581-68BC-4058-AB12-887D2B7A3D59}" srcOrd="1" destOrd="0" parTransId="{5FFC5D7C-3F71-4FF6-A5F5-446FF1640F37}" sibTransId="{4E9BB3E0-01FB-4F18-9B42-3CC95954DF1E}"/>
    <dgm:cxn modelId="{B8F90921-601A-4CE6-8D12-3F402BDE4D37}" type="presParOf" srcId="{C7BB8A09-88BE-490B-97B0-7675C7D8F9A8}" destId="{EDE5B646-CF1C-4C52-9AC1-011DBA6641F7}" srcOrd="0" destOrd="0" presId="urn:microsoft.com/office/officeart/2005/8/layout/default"/>
    <dgm:cxn modelId="{F31877BA-BE1E-4889-8F7E-15C42640F2C7}" type="presParOf" srcId="{C7BB8A09-88BE-490B-97B0-7675C7D8F9A8}" destId="{809ED9AA-1561-4A72-8DEA-93520887FFE7}" srcOrd="1" destOrd="0" presId="urn:microsoft.com/office/officeart/2005/8/layout/default"/>
    <dgm:cxn modelId="{118A3F59-7D3C-4416-A517-ECC5C36A533D}" type="presParOf" srcId="{C7BB8A09-88BE-490B-97B0-7675C7D8F9A8}" destId="{62367A92-0F4F-4B18-9D37-7E57EC4C7977}" srcOrd="2" destOrd="0" presId="urn:microsoft.com/office/officeart/2005/8/layout/default"/>
    <dgm:cxn modelId="{89FE13B7-883F-4A89-BE66-B6B8A0D56DF1}" type="presParOf" srcId="{C7BB8A09-88BE-490B-97B0-7675C7D8F9A8}" destId="{7FD19DCE-2DBF-4401-894B-7E72B043C596}" srcOrd="3" destOrd="0" presId="urn:microsoft.com/office/officeart/2005/8/layout/default"/>
    <dgm:cxn modelId="{6BFF8531-241B-49DA-9F88-6BB89320BAD0}" type="presParOf" srcId="{C7BB8A09-88BE-490B-97B0-7675C7D8F9A8}" destId="{7126A1AF-DEE7-4344-957C-6C938E180635}" srcOrd="4" destOrd="0" presId="urn:microsoft.com/office/officeart/2005/8/layout/default"/>
    <dgm:cxn modelId="{4E7075E3-FF33-462C-B7B8-1CAEE3DB0F9B}" type="presParOf" srcId="{C7BB8A09-88BE-490B-97B0-7675C7D8F9A8}" destId="{816734D7-ADCC-421A-A3E3-805B9137D1CC}" srcOrd="5" destOrd="0" presId="urn:microsoft.com/office/officeart/2005/8/layout/default"/>
    <dgm:cxn modelId="{C87C5CB5-3C55-42E5-B879-CF05981C656B}" type="presParOf" srcId="{C7BB8A09-88BE-490B-97B0-7675C7D8F9A8}" destId="{6B667D6F-B10D-42C0-BB07-DF0A93EF6F14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9640F33-4801-4CFC-96D7-58647AB5110B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A8563CC-A522-44B9-9EF8-9D3112A1C225}">
      <dgm:prSet/>
      <dgm:spPr/>
      <dgm:t>
        <a:bodyPr/>
        <a:lstStyle/>
        <a:p>
          <a:r>
            <a:rPr lang="en-US" dirty="0" err="1"/>
            <a:t>الإيمان</a:t>
          </a:r>
          <a:r>
            <a:rPr lang="en-US" dirty="0"/>
            <a:t> </a:t>
          </a:r>
          <a:r>
            <a:rPr lang="en-US" dirty="0" err="1"/>
            <a:t>هو</a:t>
          </a:r>
          <a:r>
            <a:rPr lang="en-US" dirty="0"/>
            <a:t> </a:t>
          </a:r>
          <a:r>
            <a:rPr lang="en-US" dirty="0" err="1"/>
            <a:t>الأساس</a:t>
          </a:r>
          <a:r>
            <a:rPr lang="en-US" dirty="0"/>
            <a:t> </a:t>
          </a:r>
          <a:r>
            <a:rPr lang="en-US" dirty="0" err="1"/>
            <a:t>في</a:t>
          </a:r>
          <a:r>
            <a:rPr lang="en-US" dirty="0"/>
            <a:t> </a:t>
          </a:r>
          <a:r>
            <a:rPr lang="en-US" dirty="0" err="1"/>
            <a:t>علاقتنا</a:t>
          </a:r>
          <a:r>
            <a:rPr lang="en-US" dirty="0"/>
            <a:t> </a:t>
          </a:r>
          <a:r>
            <a:rPr lang="en-US" dirty="0" err="1"/>
            <a:t>مع</a:t>
          </a:r>
          <a:r>
            <a:rPr lang="en-US" dirty="0"/>
            <a:t> </a:t>
          </a:r>
          <a:r>
            <a:rPr lang="en-US" dirty="0" err="1"/>
            <a:t>الله</a:t>
          </a:r>
          <a:endParaRPr lang="en-US" dirty="0"/>
        </a:p>
      </dgm:t>
    </dgm:pt>
    <dgm:pt modelId="{41D8AD1C-8166-494F-9F35-589AF2589739}" type="parTrans" cxnId="{2A13DADD-227C-4A32-978A-B995EA0B9043}">
      <dgm:prSet/>
      <dgm:spPr/>
      <dgm:t>
        <a:bodyPr/>
        <a:lstStyle/>
        <a:p>
          <a:endParaRPr lang="en-US"/>
        </a:p>
      </dgm:t>
    </dgm:pt>
    <dgm:pt modelId="{3EAA29B8-37D8-45F3-A9E2-8BF16E551E0B}" type="sibTrans" cxnId="{2A13DADD-227C-4A32-978A-B995EA0B9043}">
      <dgm:prSet/>
      <dgm:spPr/>
      <dgm:t>
        <a:bodyPr/>
        <a:lstStyle/>
        <a:p>
          <a:endParaRPr lang="en-US"/>
        </a:p>
      </dgm:t>
    </dgm:pt>
    <dgm:pt modelId="{5C2EB6B3-3280-4B03-AC99-8BAA68E64F0A}">
      <dgm:prSet/>
      <dgm:spPr/>
      <dgm:t>
        <a:bodyPr/>
        <a:lstStyle/>
        <a:p>
          <a:r>
            <a:rPr lang="en-US" dirty="0" err="1"/>
            <a:t>يعطينا</a:t>
          </a:r>
          <a:r>
            <a:rPr lang="en-US" dirty="0"/>
            <a:t> </a:t>
          </a:r>
          <a:r>
            <a:rPr lang="en-US" dirty="0" err="1"/>
            <a:t>سلاماً</a:t>
          </a:r>
          <a:r>
            <a:rPr lang="en-US" dirty="0"/>
            <a:t> </a:t>
          </a:r>
          <a:r>
            <a:rPr lang="en-US" dirty="0" err="1"/>
            <a:t>وقوة</a:t>
          </a:r>
          <a:r>
            <a:rPr lang="en-US" dirty="0"/>
            <a:t> </a:t>
          </a:r>
          <a:r>
            <a:rPr lang="en-US" dirty="0" err="1"/>
            <a:t>في</a:t>
          </a:r>
          <a:r>
            <a:rPr lang="en-US" dirty="0"/>
            <a:t> </a:t>
          </a:r>
          <a:r>
            <a:rPr lang="en-US" dirty="0" err="1"/>
            <a:t>الصعوبات</a:t>
          </a:r>
          <a:endParaRPr lang="en-US" dirty="0"/>
        </a:p>
      </dgm:t>
    </dgm:pt>
    <dgm:pt modelId="{7741964E-8B89-4A3E-8307-6C70F1AD15B4}" type="parTrans" cxnId="{9FAAA4E3-7878-47FC-8FB1-DECCF890A0D5}">
      <dgm:prSet/>
      <dgm:spPr/>
      <dgm:t>
        <a:bodyPr/>
        <a:lstStyle/>
        <a:p>
          <a:endParaRPr lang="en-US"/>
        </a:p>
      </dgm:t>
    </dgm:pt>
    <dgm:pt modelId="{7DF3349F-E146-4D07-84F7-4AEDB1822026}" type="sibTrans" cxnId="{9FAAA4E3-7878-47FC-8FB1-DECCF890A0D5}">
      <dgm:prSet/>
      <dgm:spPr/>
      <dgm:t>
        <a:bodyPr/>
        <a:lstStyle/>
        <a:p>
          <a:endParaRPr lang="en-US"/>
        </a:p>
      </dgm:t>
    </dgm:pt>
    <dgm:pt modelId="{3C406194-D52D-4FA5-8BE6-BB704B585E75}">
      <dgm:prSet/>
      <dgm:spPr/>
      <dgm:t>
        <a:bodyPr/>
        <a:lstStyle/>
        <a:p>
          <a:r>
            <a:rPr lang="en-US" dirty="0" err="1"/>
            <a:t>يجعلنا</a:t>
          </a:r>
          <a:r>
            <a:rPr lang="en-US" dirty="0"/>
            <a:t> </a:t>
          </a:r>
          <a:r>
            <a:rPr lang="en-US" dirty="0" err="1"/>
            <a:t>نعيش</a:t>
          </a:r>
          <a:r>
            <a:rPr lang="en-US" dirty="0"/>
            <a:t> </a:t>
          </a:r>
          <a:r>
            <a:rPr lang="en-US" dirty="0" err="1"/>
            <a:t>تعاليم</a:t>
          </a:r>
          <a:r>
            <a:rPr lang="en-US" dirty="0"/>
            <a:t> </a:t>
          </a:r>
          <a:r>
            <a:rPr lang="en-US" dirty="0" err="1"/>
            <a:t>المسيح</a:t>
          </a:r>
          <a:r>
            <a:rPr lang="en-US" dirty="0"/>
            <a:t> </a:t>
          </a:r>
          <a:r>
            <a:rPr lang="en-US" dirty="0" err="1"/>
            <a:t>يومياً</a:t>
          </a:r>
          <a:endParaRPr lang="en-US" dirty="0"/>
        </a:p>
      </dgm:t>
    </dgm:pt>
    <dgm:pt modelId="{61E75C6E-F980-4312-854A-22970E979158}" type="parTrans" cxnId="{FF079800-B99B-4821-BE4E-E02A0A902E4D}">
      <dgm:prSet/>
      <dgm:spPr/>
      <dgm:t>
        <a:bodyPr/>
        <a:lstStyle/>
        <a:p>
          <a:endParaRPr lang="en-US"/>
        </a:p>
      </dgm:t>
    </dgm:pt>
    <dgm:pt modelId="{89ADD425-8284-4616-9073-32B9883BDC9A}" type="sibTrans" cxnId="{FF079800-B99B-4821-BE4E-E02A0A902E4D}">
      <dgm:prSet/>
      <dgm:spPr/>
      <dgm:t>
        <a:bodyPr/>
        <a:lstStyle/>
        <a:p>
          <a:endParaRPr lang="en-US"/>
        </a:p>
      </dgm:t>
    </dgm:pt>
    <dgm:pt modelId="{90207E90-FD94-4404-B8FC-F5F8DB132939}">
      <dgm:prSet/>
      <dgm:spPr/>
      <dgm:t>
        <a:bodyPr/>
        <a:lstStyle/>
        <a:p>
          <a:r>
            <a:rPr lang="en-US" dirty="0" err="1"/>
            <a:t>يقربنا</a:t>
          </a:r>
          <a:r>
            <a:rPr lang="en-US" dirty="0"/>
            <a:t> </a:t>
          </a:r>
          <a:r>
            <a:rPr lang="en-US" dirty="0" err="1"/>
            <a:t>من</a:t>
          </a:r>
          <a:r>
            <a:rPr lang="en-US" dirty="0"/>
            <a:t> </a:t>
          </a:r>
          <a:r>
            <a:rPr lang="en-US" dirty="0" err="1"/>
            <a:t>الكنيسة</a:t>
          </a:r>
          <a:r>
            <a:rPr lang="en-US" dirty="0"/>
            <a:t> </a:t>
          </a:r>
          <a:r>
            <a:rPr lang="en-US" dirty="0" err="1"/>
            <a:t>والأسرار</a:t>
          </a:r>
          <a:endParaRPr lang="en-US" dirty="0"/>
        </a:p>
      </dgm:t>
    </dgm:pt>
    <dgm:pt modelId="{62B9E172-4AC7-43E6-AC0C-0830E3CE7DE7}" type="parTrans" cxnId="{C5F2C7CF-F097-4FC1-94B1-E66991CCD447}">
      <dgm:prSet/>
      <dgm:spPr/>
      <dgm:t>
        <a:bodyPr/>
        <a:lstStyle/>
        <a:p>
          <a:endParaRPr lang="en-US"/>
        </a:p>
      </dgm:t>
    </dgm:pt>
    <dgm:pt modelId="{99323A2B-2AC3-4C21-A5F2-6C31C8E0CE74}" type="sibTrans" cxnId="{C5F2C7CF-F097-4FC1-94B1-E66991CCD447}">
      <dgm:prSet/>
      <dgm:spPr/>
      <dgm:t>
        <a:bodyPr/>
        <a:lstStyle/>
        <a:p>
          <a:endParaRPr lang="en-US"/>
        </a:p>
      </dgm:t>
    </dgm:pt>
    <dgm:pt modelId="{2407FA4E-5637-4F2A-9E2F-087159FACBA1}" type="pres">
      <dgm:prSet presAssocID="{59640F33-4801-4CFC-96D7-58647AB5110B}" presName="diagram" presStyleCnt="0">
        <dgm:presLayoutVars>
          <dgm:dir/>
          <dgm:resizeHandles val="exact"/>
        </dgm:presLayoutVars>
      </dgm:prSet>
      <dgm:spPr/>
    </dgm:pt>
    <dgm:pt modelId="{F106144F-CA7F-4FD1-8044-50F534B24FC3}" type="pres">
      <dgm:prSet presAssocID="{DA8563CC-A522-44B9-9EF8-9D3112A1C225}" presName="node" presStyleLbl="node1" presStyleIdx="0" presStyleCnt="4">
        <dgm:presLayoutVars>
          <dgm:bulletEnabled val="1"/>
        </dgm:presLayoutVars>
      </dgm:prSet>
      <dgm:spPr/>
    </dgm:pt>
    <dgm:pt modelId="{1D2F3F44-B651-4837-9096-43C1EF264725}" type="pres">
      <dgm:prSet presAssocID="{3EAA29B8-37D8-45F3-A9E2-8BF16E551E0B}" presName="sibTrans" presStyleCnt="0"/>
      <dgm:spPr/>
    </dgm:pt>
    <dgm:pt modelId="{3C65DF7F-EEF7-4068-90A1-B9D66F2F95BC}" type="pres">
      <dgm:prSet presAssocID="{5C2EB6B3-3280-4B03-AC99-8BAA68E64F0A}" presName="node" presStyleLbl="node1" presStyleIdx="1" presStyleCnt="4">
        <dgm:presLayoutVars>
          <dgm:bulletEnabled val="1"/>
        </dgm:presLayoutVars>
      </dgm:prSet>
      <dgm:spPr/>
    </dgm:pt>
    <dgm:pt modelId="{99A98BF7-73DB-4A1C-8B71-7D65F0BD63CD}" type="pres">
      <dgm:prSet presAssocID="{7DF3349F-E146-4D07-84F7-4AEDB1822026}" presName="sibTrans" presStyleCnt="0"/>
      <dgm:spPr/>
    </dgm:pt>
    <dgm:pt modelId="{752002BF-846F-40A8-A41F-BE1EFEF07469}" type="pres">
      <dgm:prSet presAssocID="{3C406194-D52D-4FA5-8BE6-BB704B585E75}" presName="node" presStyleLbl="node1" presStyleIdx="2" presStyleCnt="4">
        <dgm:presLayoutVars>
          <dgm:bulletEnabled val="1"/>
        </dgm:presLayoutVars>
      </dgm:prSet>
      <dgm:spPr/>
    </dgm:pt>
    <dgm:pt modelId="{4732477C-A972-48F3-858D-0E4F2174C7C8}" type="pres">
      <dgm:prSet presAssocID="{89ADD425-8284-4616-9073-32B9883BDC9A}" presName="sibTrans" presStyleCnt="0"/>
      <dgm:spPr/>
    </dgm:pt>
    <dgm:pt modelId="{2203FABD-2B09-4279-B075-85930F281303}" type="pres">
      <dgm:prSet presAssocID="{90207E90-FD94-4404-B8FC-F5F8DB132939}" presName="node" presStyleLbl="node1" presStyleIdx="3" presStyleCnt="4">
        <dgm:presLayoutVars>
          <dgm:bulletEnabled val="1"/>
        </dgm:presLayoutVars>
      </dgm:prSet>
      <dgm:spPr/>
    </dgm:pt>
  </dgm:ptLst>
  <dgm:cxnLst>
    <dgm:cxn modelId="{FF079800-B99B-4821-BE4E-E02A0A902E4D}" srcId="{59640F33-4801-4CFC-96D7-58647AB5110B}" destId="{3C406194-D52D-4FA5-8BE6-BB704B585E75}" srcOrd="2" destOrd="0" parTransId="{61E75C6E-F980-4312-854A-22970E979158}" sibTransId="{89ADD425-8284-4616-9073-32B9883BDC9A}"/>
    <dgm:cxn modelId="{E2275A05-2161-4754-94C9-E67B06462F5E}" type="presOf" srcId="{5C2EB6B3-3280-4B03-AC99-8BAA68E64F0A}" destId="{3C65DF7F-EEF7-4068-90A1-B9D66F2F95BC}" srcOrd="0" destOrd="0" presId="urn:microsoft.com/office/officeart/2005/8/layout/default"/>
    <dgm:cxn modelId="{B672C72F-56F5-4BA0-94FF-91345DB2C6FD}" type="presOf" srcId="{59640F33-4801-4CFC-96D7-58647AB5110B}" destId="{2407FA4E-5637-4F2A-9E2F-087159FACBA1}" srcOrd="0" destOrd="0" presId="urn:microsoft.com/office/officeart/2005/8/layout/default"/>
    <dgm:cxn modelId="{D529F668-FF2B-443F-94CB-825B7711C718}" type="presOf" srcId="{3C406194-D52D-4FA5-8BE6-BB704B585E75}" destId="{752002BF-846F-40A8-A41F-BE1EFEF07469}" srcOrd="0" destOrd="0" presId="urn:microsoft.com/office/officeart/2005/8/layout/default"/>
    <dgm:cxn modelId="{4225D755-602E-47D0-9ECA-AA47712DF315}" type="presOf" srcId="{DA8563CC-A522-44B9-9EF8-9D3112A1C225}" destId="{F106144F-CA7F-4FD1-8044-50F534B24FC3}" srcOrd="0" destOrd="0" presId="urn:microsoft.com/office/officeart/2005/8/layout/default"/>
    <dgm:cxn modelId="{2FF0B6C3-8896-40EF-BB56-0B3169B92A7B}" type="presOf" srcId="{90207E90-FD94-4404-B8FC-F5F8DB132939}" destId="{2203FABD-2B09-4279-B075-85930F281303}" srcOrd="0" destOrd="0" presId="urn:microsoft.com/office/officeart/2005/8/layout/default"/>
    <dgm:cxn modelId="{C5F2C7CF-F097-4FC1-94B1-E66991CCD447}" srcId="{59640F33-4801-4CFC-96D7-58647AB5110B}" destId="{90207E90-FD94-4404-B8FC-F5F8DB132939}" srcOrd="3" destOrd="0" parTransId="{62B9E172-4AC7-43E6-AC0C-0830E3CE7DE7}" sibTransId="{99323A2B-2AC3-4C21-A5F2-6C31C8E0CE74}"/>
    <dgm:cxn modelId="{2A13DADD-227C-4A32-978A-B995EA0B9043}" srcId="{59640F33-4801-4CFC-96D7-58647AB5110B}" destId="{DA8563CC-A522-44B9-9EF8-9D3112A1C225}" srcOrd="0" destOrd="0" parTransId="{41D8AD1C-8166-494F-9F35-589AF2589739}" sibTransId="{3EAA29B8-37D8-45F3-A9E2-8BF16E551E0B}"/>
    <dgm:cxn modelId="{9FAAA4E3-7878-47FC-8FB1-DECCF890A0D5}" srcId="{59640F33-4801-4CFC-96D7-58647AB5110B}" destId="{5C2EB6B3-3280-4B03-AC99-8BAA68E64F0A}" srcOrd="1" destOrd="0" parTransId="{7741964E-8B89-4A3E-8307-6C70F1AD15B4}" sibTransId="{7DF3349F-E146-4D07-84F7-4AEDB1822026}"/>
    <dgm:cxn modelId="{0DFF1AF3-F303-4C6F-9B47-ED1946ECE321}" type="presParOf" srcId="{2407FA4E-5637-4F2A-9E2F-087159FACBA1}" destId="{F106144F-CA7F-4FD1-8044-50F534B24FC3}" srcOrd="0" destOrd="0" presId="urn:microsoft.com/office/officeart/2005/8/layout/default"/>
    <dgm:cxn modelId="{04890160-D7C9-4254-933B-313246CA6340}" type="presParOf" srcId="{2407FA4E-5637-4F2A-9E2F-087159FACBA1}" destId="{1D2F3F44-B651-4837-9096-43C1EF264725}" srcOrd="1" destOrd="0" presId="urn:microsoft.com/office/officeart/2005/8/layout/default"/>
    <dgm:cxn modelId="{E9D5CE5C-FAA7-44EE-95B6-2B2A980F0770}" type="presParOf" srcId="{2407FA4E-5637-4F2A-9E2F-087159FACBA1}" destId="{3C65DF7F-EEF7-4068-90A1-B9D66F2F95BC}" srcOrd="2" destOrd="0" presId="urn:microsoft.com/office/officeart/2005/8/layout/default"/>
    <dgm:cxn modelId="{4DDC27B2-F2BD-44EE-B84F-07C07BA6373B}" type="presParOf" srcId="{2407FA4E-5637-4F2A-9E2F-087159FACBA1}" destId="{99A98BF7-73DB-4A1C-8B71-7D65F0BD63CD}" srcOrd="3" destOrd="0" presId="urn:microsoft.com/office/officeart/2005/8/layout/default"/>
    <dgm:cxn modelId="{62D896CF-C69F-4087-8D1A-D84B7A004EAC}" type="presParOf" srcId="{2407FA4E-5637-4F2A-9E2F-087159FACBA1}" destId="{752002BF-846F-40A8-A41F-BE1EFEF07469}" srcOrd="4" destOrd="0" presId="urn:microsoft.com/office/officeart/2005/8/layout/default"/>
    <dgm:cxn modelId="{6A9836F1-6D56-4A8A-AF62-830F519C2A0D}" type="presParOf" srcId="{2407FA4E-5637-4F2A-9E2F-087159FACBA1}" destId="{4732477C-A972-48F3-858D-0E4F2174C7C8}" srcOrd="5" destOrd="0" presId="urn:microsoft.com/office/officeart/2005/8/layout/default"/>
    <dgm:cxn modelId="{4AC97B41-11FA-4315-8B36-B59458E06B70}" type="presParOf" srcId="{2407FA4E-5637-4F2A-9E2F-087159FACBA1}" destId="{2203FABD-2B09-4279-B075-85930F281303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4A7DA69-AD20-491A-A2E9-614CCBC9A65C}" type="doc">
      <dgm:prSet loTypeId="urn:microsoft.com/office/officeart/2005/8/layout/cycle5" loCatId="cycle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AFCA9FE5-7BE5-469C-BF70-4C6B1C668654}">
      <dgm:prSet/>
      <dgm:spPr/>
      <dgm:t>
        <a:bodyPr/>
        <a:lstStyle/>
        <a:p>
          <a:r>
            <a:rPr lang="en-US" dirty="0" err="1"/>
            <a:t>الصلاة</a:t>
          </a:r>
          <a:r>
            <a:rPr lang="en-US" dirty="0"/>
            <a:t> </a:t>
          </a:r>
          <a:r>
            <a:rPr lang="en-US" dirty="0" err="1"/>
            <a:t>اليومية</a:t>
          </a:r>
          <a:endParaRPr lang="en-US" dirty="0"/>
        </a:p>
      </dgm:t>
    </dgm:pt>
    <dgm:pt modelId="{17987E9D-F60D-4FCC-B9DF-9DA226F5CBE1}" type="parTrans" cxnId="{9AA31A99-1026-4D31-B3A7-4DBF3E940539}">
      <dgm:prSet/>
      <dgm:spPr/>
      <dgm:t>
        <a:bodyPr/>
        <a:lstStyle/>
        <a:p>
          <a:endParaRPr lang="en-US"/>
        </a:p>
      </dgm:t>
    </dgm:pt>
    <dgm:pt modelId="{D6895F6D-EAC2-4A39-BAE4-1576A497C6F3}" type="sibTrans" cxnId="{9AA31A99-1026-4D31-B3A7-4DBF3E940539}">
      <dgm:prSet/>
      <dgm:spPr/>
      <dgm:t>
        <a:bodyPr/>
        <a:lstStyle/>
        <a:p>
          <a:endParaRPr lang="en-US"/>
        </a:p>
      </dgm:t>
    </dgm:pt>
    <dgm:pt modelId="{AB091D81-572B-4C55-BA08-57DDCD90022C}">
      <dgm:prSet/>
      <dgm:spPr/>
      <dgm:t>
        <a:bodyPr/>
        <a:lstStyle/>
        <a:p>
          <a:r>
            <a:rPr lang="en-US" dirty="0" err="1"/>
            <a:t>قراءة</a:t>
          </a:r>
          <a:r>
            <a:rPr lang="en-US" dirty="0"/>
            <a:t> </a:t>
          </a:r>
          <a:r>
            <a:rPr lang="en-US" dirty="0" err="1"/>
            <a:t>آية</a:t>
          </a:r>
          <a:r>
            <a:rPr lang="en-US" dirty="0"/>
            <a:t> </a:t>
          </a:r>
          <a:r>
            <a:rPr lang="en-US" dirty="0" err="1"/>
            <a:t>من</a:t>
          </a:r>
          <a:r>
            <a:rPr lang="en-US" dirty="0"/>
            <a:t> </a:t>
          </a:r>
          <a:r>
            <a:rPr lang="en-US" dirty="0" err="1"/>
            <a:t>الإنجيل</a:t>
          </a:r>
          <a:endParaRPr lang="en-US" dirty="0"/>
        </a:p>
      </dgm:t>
    </dgm:pt>
    <dgm:pt modelId="{B74AF16D-C4E4-4696-B68F-36ED4A10B3E5}" type="parTrans" cxnId="{732BE2BB-5808-4EE0-89AC-90156D0B06F8}">
      <dgm:prSet/>
      <dgm:spPr/>
      <dgm:t>
        <a:bodyPr/>
        <a:lstStyle/>
        <a:p>
          <a:endParaRPr lang="en-US"/>
        </a:p>
      </dgm:t>
    </dgm:pt>
    <dgm:pt modelId="{55DAF679-2E9C-4324-BB85-34CAAE33B853}" type="sibTrans" cxnId="{732BE2BB-5808-4EE0-89AC-90156D0B06F8}">
      <dgm:prSet/>
      <dgm:spPr/>
      <dgm:t>
        <a:bodyPr/>
        <a:lstStyle/>
        <a:p>
          <a:endParaRPr lang="en-US"/>
        </a:p>
      </dgm:t>
    </dgm:pt>
    <dgm:pt modelId="{3940A0C0-1DD7-4EDD-8C4D-391738B6D1E5}">
      <dgm:prSet/>
      <dgm:spPr/>
      <dgm:t>
        <a:bodyPr/>
        <a:lstStyle/>
        <a:p>
          <a:r>
            <a:rPr lang="en-US" dirty="0" err="1"/>
            <a:t>حضور</a:t>
          </a:r>
          <a:r>
            <a:rPr lang="en-US" dirty="0"/>
            <a:t> </a:t>
          </a:r>
          <a:r>
            <a:rPr lang="en-US" dirty="0" err="1"/>
            <a:t>القداس</a:t>
          </a:r>
          <a:endParaRPr lang="en-US" dirty="0"/>
        </a:p>
      </dgm:t>
    </dgm:pt>
    <dgm:pt modelId="{8DA1D7B4-53BB-4080-BCBF-D72A71AEA8C9}" type="parTrans" cxnId="{B29EF4E7-D626-4A69-94DC-0B9CBD4BEB07}">
      <dgm:prSet/>
      <dgm:spPr/>
      <dgm:t>
        <a:bodyPr/>
        <a:lstStyle/>
        <a:p>
          <a:endParaRPr lang="en-US"/>
        </a:p>
      </dgm:t>
    </dgm:pt>
    <dgm:pt modelId="{1C5541D5-45D5-43B8-B571-127FA313332F}" type="sibTrans" cxnId="{B29EF4E7-D626-4A69-94DC-0B9CBD4BEB07}">
      <dgm:prSet/>
      <dgm:spPr/>
      <dgm:t>
        <a:bodyPr/>
        <a:lstStyle/>
        <a:p>
          <a:endParaRPr lang="en-US"/>
        </a:p>
      </dgm:t>
    </dgm:pt>
    <dgm:pt modelId="{EADC8AB6-A15E-4765-8263-AA073DB76339}">
      <dgm:prSet/>
      <dgm:spPr/>
      <dgm:t>
        <a:bodyPr/>
        <a:lstStyle/>
        <a:p>
          <a:r>
            <a:rPr lang="en-US" dirty="0" err="1"/>
            <a:t>الثقة</a:t>
          </a:r>
          <a:r>
            <a:rPr lang="en-US" dirty="0"/>
            <a:t> </a:t>
          </a:r>
          <a:r>
            <a:rPr lang="en-US" dirty="0" err="1"/>
            <a:t>بأن</a:t>
          </a:r>
          <a:r>
            <a:rPr lang="en-US" dirty="0"/>
            <a:t> </a:t>
          </a:r>
          <a:r>
            <a:rPr lang="en-US" dirty="0" err="1"/>
            <a:t>الله</a:t>
          </a:r>
          <a:r>
            <a:rPr lang="en-US" dirty="0"/>
            <a:t> </a:t>
          </a:r>
          <a:r>
            <a:rPr lang="en-US" dirty="0" err="1"/>
            <a:t>معنا</a:t>
          </a:r>
          <a:r>
            <a:rPr lang="en-US" dirty="0"/>
            <a:t> </a:t>
          </a:r>
          <a:r>
            <a:rPr lang="en-US" dirty="0" err="1"/>
            <a:t>دائماً</a:t>
          </a:r>
          <a:endParaRPr lang="en-US" dirty="0"/>
        </a:p>
      </dgm:t>
    </dgm:pt>
    <dgm:pt modelId="{EBE2710E-6611-4D89-80BB-B695D5B5970B}" type="parTrans" cxnId="{D8A1C1E4-6FBA-4AC6-A785-F4ADC4F281A7}">
      <dgm:prSet/>
      <dgm:spPr/>
      <dgm:t>
        <a:bodyPr/>
        <a:lstStyle/>
        <a:p>
          <a:endParaRPr lang="en-US"/>
        </a:p>
      </dgm:t>
    </dgm:pt>
    <dgm:pt modelId="{EF5EC85E-C371-45B5-AD7A-089F59A01223}" type="sibTrans" cxnId="{D8A1C1E4-6FBA-4AC6-A785-F4ADC4F281A7}">
      <dgm:prSet/>
      <dgm:spPr/>
      <dgm:t>
        <a:bodyPr/>
        <a:lstStyle/>
        <a:p>
          <a:endParaRPr lang="en-US"/>
        </a:p>
      </dgm:t>
    </dgm:pt>
    <dgm:pt modelId="{D4E14FF6-0F31-4EBD-A2C1-3682F4D15BAE}">
      <dgm:prSet/>
      <dgm:spPr/>
      <dgm:t>
        <a:bodyPr/>
        <a:lstStyle/>
        <a:p>
          <a:r>
            <a:rPr lang="en-US" dirty="0" err="1"/>
            <a:t>عمل</a:t>
          </a:r>
          <a:r>
            <a:rPr lang="en-US" dirty="0"/>
            <a:t> </a:t>
          </a:r>
          <a:r>
            <a:rPr lang="en-US" dirty="0" err="1"/>
            <a:t>الخير</a:t>
          </a:r>
          <a:r>
            <a:rPr lang="en-US" dirty="0"/>
            <a:t> </a:t>
          </a:r>
          <a:r>
            <a:rPr lang="en-US" dirty="0" err="1"/>
            <a:t>ومساعدة</a:t>
          </a:r>
          <a:r>
            <a:rPr lang="en-US" dirty="0"/>
            <a:t> </a:t>
          </a:r>
          <a:r>
            <a:rPr lang="en-US" dirty="0" err="1"/>
            <a:t>الآخرين</a:t>
          </a:r>
          <a:endParaRPr lang="en-US" dirty="0"/>
        </a:p>
      </dgm:t>
    </dgm:pt>
    <dgm:pt modelId="{61A4F627-9454-4682-A673-FD3154D0AC2F}" type="parTrans" cxnId="{B2826A88-9DEB-493A-9FC6-D3C829310159}">
      <dgm:prSet/>
      <dgm:spPr/>
      <dgm:t>
        <a:bodyPr/>
        <a:lstStyle/>
        <a:p>
          <a:endParaRPr lang="en-US"/>
        </a:p>
      </dgm:t>
    </dgm:pt>
    <dgm:pt modelId="{3CA2C89E-467B-4E40-8D7E-66C3007A0D99}" type="sibTrans" cxnId="{B2826A88-9DEB-493A-9FC6-D3C829310159}">
      <dgm:prSet/>
      <dgm:spPr/>
      <dgm:t>
        <a:bodyPr/>
        <a:lstStyle/>
        <a:p>
          <a:endParaRPr lang="en-US"/>
        </a:p>
      </dgm:t>
    </dgm:pt>
    <dgm:pt modelId="{4CC83AC8-50C2-4497-8C50-F2FC6E5B169D}" type="pres">
      <dgm:prSet presAssocID="{34A7DA69-AD20-491A-A2E9-614CCBC9A65C}" presName="cycle" presStyleCnt="0">
        <dgm:presLayoutVars>
          <dgm:dir/>
          <dgm:resizeHandles val="exact"/>
        </dgm:presLayoutVars>
      </dgm:prSet>
      <dgm:spPr/>
    </dgm:pt>
    <dgm:pt modelId="{7501EDC2-1111-4BBA-8C86-435B9E8F3934}" type="pres">
      <dgm:prSet presAssocID="{AFCA9FE5-7BE5-469C-BF70-4C6B1C668654}" presName="node" presStyleLbl="node1" presStyleIdx="0" presStyleCnt="5">
        <dgm:presLayoutVars>
          <dgm:bulletEnabled val="1"/>
        </dgm:presLayoutVars>
      </dgm:prSet>
      <dgm:spPr/>
    </dgm:pt>
    <dgm:pt modelId="{EF0E0E74-AB70-481D-8729-F202BE9E24C8}" type="pres">
      <dgm:prSet presAssocID="{AFCA9FE5-7BE5-469C-BF70-4C6B1C668654}" presName="spNode" presStyleCnt="0"/>
      <dgm:spPr/>
    </dgm:pt>
    <dgm:pt modelId="{DEE643C1-50CC-44C1-95F6-A0F72871F7B9}" type="pres">
      <dgm:prSet presAssocID="{D6895F6D-EAC2-4A39-BAE4-1576A497C6F3}" presName="sibTrans" presStyleLbl="sibTrans1D1" presStyleIdx="0" presStyleCnt="5"/>
      <dgm:spPr/>
    </dgm:pt>
    <dgm:pt modelId="{233F4C9A-D5A0-46DA-BA88-020B702E0EF2}" type="pres">
      <dgm:prSet presAssocID="{AB091D81-572B-4C55-BA08-57DDCD90022C}" presName="node" presStyleLbl="node1" presStyleIdx="1" presStyleCnt="5">
        <dgm:presLayoutVars>
          <dgm:bulletEnabled val="1"/>
        </dgm:presLayoutVars>
      </dgm:prSet>
      <dgm:spPr/>
    </dgm:pt>
    <dgm:pt modelId="{57C51E58-4415-474A-BD50-CFF5907DA7F6}" type="pres">
      <dgm:prSet presAssocID="{AB091D81-572B-4C55-BA08-57DDCD90022C}" presName="spNode" presStyleCnt="0"/>
      <dgm:spPr/>
    </dgm:pt>
    <dgm:pt modelId="{434D207D-3C9D-4252-9E71-AFC47EC849F7}" type="pres">
      <dgm:prSet presAssocID="{55DAF679-2E9C-4324-BB85-34CAAE33B853}" presName="sibTrans" presStyleLbl="sibTrans1D1" presStyleIdx="1" presStyleCnt="5"/>
      <dgm:spPr/>
    </dgm:pt>
    <dgm:pt modelId="{C591FFFA-29AF-4A30-AE3C-47011006AE50}" type="pres">
      <dgm:prSet presAssocID="{3940A0C0-1DD7-4EDD-8C4D-391738B6D1E5}" presName="node" presStyleLbl="node1" presStyleIdx="2" presStyleCnt="5">
        <dgm:presLayoutVars>
          <dgm:bulletEnabled val="1"/>
        </dgm:presLayoutVars>
      </dgm:prSet>
      <dgm:spPr/>
    </dgm:pt>
    <dgm:pt modelId="{81CDD8DC-A501-4E60-B6D9-BC681DE784D7}" type="pres">
      <dgm:prSet presAssocID="{3940A0C0-1DD7-4EDD-8C4D-391738B6D1E5}" presName="spNode" presStyleCnt="0"/>
      <dgm:spPr/>
    </dgm:pt>
    <dgm:pt modelId="{E2404D9D-6486-45C5-91E7-64BBB828BF90}" type="pres">
      <dgm:prSet presAssocID="{1C5541D5-45D5-43B8-B571-127FA313332F}" presName="sibTrans" presStyleLbl="sibTrans1D1" presStyleIdx="2" presStyleCnt="5"/>
      <dgm:spPr/>
    </dgm:pt>
    <dgm:pt modelId="{C9ACF1D3-CDDA-4AFB-9361-EBE18D580EE1}" type="pres">
      <dgm:prSet presAssocID="{EADC8AB6-A15E-4765-8263-AA073DB76339}" presName="node" presStyleLbl="node1" presStyleIdx="3" presStyleCnt="5">
        <dgm:presLayoutVars>
          <dgm:bulletEnabled val="1"/>
        </dgm:presLayoutVars>
      </dgm:prSet>
      <dgm:spPr/>
    </dgm:pt>
    <dgm:pt modelId="{FADDAA4E-FC2E-4A62-A189-DCFDE0D2E496}" type="pres">
      <dgm:prSet presAssocID="{EADC8AB6-A15E-4765-8263-AA073DB76339}" presName="spNode" presStyleCnt="0"/>
      <dgm:spPr/>
    </dgm:pt>
    <dgm:pt modelId="{87ADDAC4-05A3-40AC-8ECF-E637C819250B}" type="pres">
      <dgm:prSet presAssocID="{EF5EC85E-C371-45B5-AD7A-089F59A01223}" presName="sibTrans" presStyleLbl="sibTrans1D1" presStyleIdx="3" presStyleCnt="5"/>
      <dgm:spPr/>
    </dgm:pt>
    <dgm:pt modelId="{0F2D9E6B-819C-4252-A8CC-E00389ADAFA5}" type="pres">
      <dgm:prSet presAssocID="{D4E14FF6-0F31-4EBD-A2C1-3682F4D15BAE}" presName="node" presStyleLbl="node1" presStyleIdx="4" presStyleCnt="5">
        <dgm:presLayoutVars>
          <dgm:bulletEnabled val="1"/>
        </dgm:presLayoutVars>
      </dgm:prSet>
      <dgm:spPr/>
    </dgm:pt>
    <dgm:pt modelId="{820FFFDB-7C2C-429C-9024-B63E66FDE0D1}" type="pres">
      <dgm:prSet presAssocID="{D4E14FF6-0F31-4EBD-A2C1-3682F4D15BAE}" presName="spNode" presStyleCnt="0"/>
      <dgm:spPr/>
    </dgm:pt>
    <dgm:pt modelId="{D26FF1F5-B2E6-413C-886D-2A1BAE413E22}" type="pres">
      <dgm:prSet presAssocID="{3CA2C89E-467B-4E40-8D7E-66C3007A0D99}" presName="sibTrans" presStyleLbl="sibTrans1D1" presStyleIdx="4" presStyleCnt="5"/>
      <dgm:spPr/>
    </dgm:pt>
  </dgm:ptLst>
  <dgm:cxnLst>
    <dgm:cxn modelId="{2ED1BC05-4CAB-4867-A37B-E9EEEAA4A8BD}" type="presOf" srcId="{1C5541D5-45D5-43B8-B571-127FA313332F}" destId="{E2404D9D-6486-45C5-91E7-64BBB828BF90}" srcOrd="0" destOrd="0" presId="urn:microsoft.com/office/officeart/2005/8/layout/cycle5"/>
    <dgm:cxn modelId="{2265C925-DA43-4E6E-A69A-6957862BEA3C}" type="presOf" srcId="{EF5EC85E-C371-45B5-AD7A-089F59A01223}" destId="{87ADDAC4-05A3-40AC-8ECF-E637C819250B}" srcOrd="0" destOrd="0" presId="urn:microsoft.com/office/officeart/2005/8/layout/cycle5"/>
    <dgm:cxn modelId="{0DD8EB30-1B2F-4FE7-B8C8-2DF2FB1D92FD}" type="presOf" srcId="{D6895F6D-EAC2-4A39-BAE4-1576A497C6F3}" destId="{DEE643C1-50CC-44C1-95F6-A0F72871F7B9}" srcOrd="0" destOrd="0" presId="urn:microsoft.com/office/officeart/2005/8/layout/cycle5"/>
    <dgm:cxn modelId="{53D1CF42-6FB5-4E71-BD81-9A34829C4FDC}" type="presOf" srcId="{3CA2C89E-467B-4E40-8D7E-66C3007A0D99}" destId="{D26FF1F5-B2E6-413C-886D-2A1BAE413E22}" srcOrd="0" destOrd="0" presId="urn:microsoft.com/office/officeart/2005/8/layout/cycle5"/>
    <dgm:cxn modelId="{BCE5744A-A719-404B-867A-5CEAC2AFCC30}" type="presOf" srcId="{3940A0C0-1DD7-4EDD-8C4D-391738B6D1E5}" destId="{C591FFFA-29AF-4A30-AE3C-47011006AE50}" srcOrd="0" destOrd="0" presId="urn:microsoft.com/office/officeart/2005/8/layout/cycle5"/>
    <dgm:cxn modelId="{B2826A88-9DEB-493A-9FC6-D3C829310159}" srcId="{34A7DA69-AD20-491A-A2E9-614CCBC9A65C}" destId="{D4E14FF6-0F31-4EBD-A2C1-3682F4D15BAE}" srcOrd="4" destOrd="0" parTransId="{61A4F627-9454-4682-A673-FD3154D0AC2F}" sibTransId="{3CA2C89E-467B-4E40-8D7E-66C3007A0D99}"/>
    <dgm:cxn modelId="{9AA31A99-1026-4D31-B3A7-4DBF3E940539}" srcId="{34A7DA69-AD20-491A-A2E9-614CCBC9A65C}" destId="{AFCA9FE5-7BE5-469C-BF70-4C6B1C668654}" srcOrd="0" destOrd="0" parTransId="{17987E9D-F60D-4FCC-B9DF-9DA226F5CBE1}" sibTransId="{D6895F6D-EAC2-4A39-BAE4-1576A497C6F3}"/>
    <dgm:cxn modelId="{7BE635B3-2F17-41A6-B0F6-7733051A90FB}" type="presOf" srcId="{55DAF679-2E9C-4324-BB85-34CAAE33B853}" destId="{434D207D-3C9D-4252-9E71-AFC47EC849F7}" srcOrd="0" destOrd="0" presId="urn:microsoft.com/office/officeart/2005/8/layout/cycle5"/>
    <dgm:cxn modelId="{E6A91EB8-BCD6-4F3B-9544-A70C2E373A41}" type="presOf" srcId="{34A7DA69-AD20-491A-A2E9-614CCBC9A65C}" destId="{4CC83AC8-50C2-4497-8C50-F2FC6E5B169D}" srcOrd="0" destOrd="0" presId="urn:microsoft.com/office/officeart/2005/8/layout/cycle5"/>
    <dgm:cxn modelId="{732BE2BB-5808-4EE0-89AC-90156D0B06F8}" srcId="{34A7DA69-AD20-491A-A2E9-614CCBC9A65C}" destId="{AB091D81-572B-4C55-BA08-57DDCD90022C}" srcOrd="1" destOrd="0" parTransId="{B74AF16D-C4E4-4696-B68F-36ED4A10B3E5}" sibTransId="{55DAF679-2E9C-4324-BB85-34CAAE33B853}"/>
    <dgm:cxn modelId="{D8A1C1E4-6FBA-4AC6-A785-F4ADC4F281A7}" srcId="{34A7DA69-AD20-491A-A2E9-614CCBC9A65C}" destId="{EADC8AB6-A15E-4765-8263-AA073DB76339}" srcOrd="3" destOrd="0" parTransId="{EBE2710E-6611-4D89-80BB-B695D5B5970B}" sibTransId="{EF5EC85E-C371-45B5-AD7A-089F59A01223}"/>
    <dgm:cxn modelId="{B29EF4E7-D626-4A69-94DC-0B9CBD4BEB07}" srcId="{34A7DA69-AD20-491A-A2E9-614CCBC9A65C}" destId="{3940A0C0-1DD7-4EDD-8C4D-391738B6D1E5}" srcOrd="2" destOrd="0" parTransId="{8DA1D7B4-53BB-4080-BCBF-D72A71AEA8C9}" sibTransId="{1C5541D5-45D5-43B8-B571-127FA313332F}"/>
    <dgm:cxn modelId="{2360A5F1-B719-4B49-B4EB-D88CE28BCB56}" type="presOf" srcId="{AFCA9FE5-7BE5-469C-BF70-4C6B1C668654}" destId="{7501EDC2-1111-4BBA-8C86-435B9E8F3934}" srcOrd="0" destOrd="0" presId="urn:microsoft.com/office/officeart/2005/8/layout/cycle5"/>
    <dgm:cxn modelId="{29B236F3-CF55-44EF-B5C2-3B3C01A3A155}" type="presOf" srcId="{D4E14FF6-0F31-4EBD-A2C1-3682F4D15BAE}" destId="{0F2D9E6B-819C-4252-A8CC-E00389ADAFA5}" srcOrd="0" destOrd="0" presId="urn:microsoft.com/office/officeart/2005/8/layout/cycle5"/>
    <dgm:cxn modelId="{238A19F8-B2CA-4ABE-8B61-1F19266C3F77}" type="presOf" srcId="{EADC8AB6-A15E-4765-8263-AA073DB76339}" destId="{C9ACF1D3-CDDA-4AFB-9361-EBE18D580EE1}" srcOrd="0" destOrd="0" presId="urn:microsoft.com/office/officeart/2005/8/layout/cycle5"/>
    <dgm:cxn modelId="{FF8434FD-D501-4253-A2B8-6CBFA8F505D7}" type="presOf" srcId="{AB091D81-572B-4C55-BA08-57DDCD90022C}" destId="{233F4C9A-D5A0-46DA-BA88-020B702E0EF2}" srcOrd="0" destOrd="0" presId="urn:microsoft.com/office/officeart/2005/8/layout/cycle5"/>
    <dgm:cxn modelId="{C91E0AFC-C905-4730-BF26-10B6A42A75AC}" type="presParOf" srcId="{4CC83AC8-50C2-4497-8C50-F2FC6E5B169D}" destId="{7501EDC2-1111-4BBA-8C86-435B9E8F3934}" srcOrd="0" destOrd="0" presId="urn:microsoft.com/office/officeart/2005/8/layout/cycle5"/>
    <dgm:cxn modelId="{91879946-CE24-411E-BCBE-18B5D628839D}" type="presParOf" srcId="{4CC83AC8-50C2-4497-8C50-F2FC6E5B169D}" destId="{EF0E0E74-AB70-481D-8729-F202BE9E24C8}" srcOrd="1" destOrd="0" presId="urn:microsoft.com/office/officeart/2005/8/layout/cycle5"/>
    <dgm:cxn modelId="{318C64AF-BF7B-40A7-85D7-30B5E0DBC540}" type="presParOf" srcId="{4CC83AC8-50C2-4497-8C50-F2FC6E5B169D}" destId="{DEE643C1-50CC-44C1-95F6-A0F72871F7B9}" srcOrd="2" destOrd="0" presId="urn:microsoft.com/office/officeart/2005/8/layout/cycle5"/>
    <dgm:cxn modelId="{2D2266CD-DE5D-4CA5-BCFD-F802244617AC}" type="presParOf" srcId="{4CC83AC8-50C2-4497-8C50-F2FC6E5B169D}" destId="{233F4C9A-D5A0-46DA-BA88-020B702E0EF2}" srcOrd="3" destOrd="0" presId="urn:microsoft.com/office/officeart/2005/8/layout/cycle5"/>
    <dgm:cxn modelId="{6A31865A-CBB4-44EC-A479-A9FBE1E53117}" type="presParOf" srcId="{4CC83AC8-50C2-4497-8C50-F2FC6E5B169D}" destId="{57C51E58-4415-474A-BD50-CFF5907DA7F6}" srcOrd="4" destOrd="0" presId="urn:microsoft.com/office/officeart/2005/8/layout/cycle5"/>
    <dgm:cxn modelId="{7E52F32D-9A05-4D81-B46A-5D00C81CA8A7}" type="presParOf" srcId="{4CC83AC8-50C2-4497-8C50-F2FC6E5B169D}" destId="{434D207D-3C9D-4252-9E71-AFC47EC849F7}" srcOrd="5" destOrd="0" presId="urn:microsoft.com/office/officeart/2005/8/layout/cycle5"/>
    <dgm:cxn modelId="{50A95F7A-730F-40C2-8D96-5E92EC0BE6E1}" type="presParOf" srcId="{4CC83AC8-50C2-4497-8C50-F2FC6E5B169D}" destId="{C591FFFA-29AF-4A30-AE3C-47011006AE50}" srcOrd="6" destOrd="0" presId="urn:microsoft.com/office/officeart/2005/8/layout/cycle5"/>
    <dgm:cxn modelId="{7B5D7266-8F90-4271-B977-841E4483EFBB}" type="presParOf" srcId="{4CC83AC8-50C2-4497-8C50-F2FC6E5B169D}" destId="{81CDD8DC-A501-4E60-B6D9-BC681DE784D7}" srcOrd="7" destOrd="0" presId="urn:microsoft.com/office/officeart/2005/8/layout/cycle5"/>
    <dgm:cxn modelId="{92A45FDD-B2DF-4FFB-8A5F-783AED9546FA}" type="presParOf" srcId="{4CC83AC8-50C2-4497-8C50-F2FC6E5B169D}" destId="{E2404D9D-6486-45C5-91E7-64BBB828BF90}" srcOrd="8" destOrd="0" presId="urn:microsoft.com/office/officeart/2005/8/layout/cycle5"/>
    <dgm:cxn modelId="{87ECB952-FF3D-4824-A11D-85696774AC24}" type="presParOf" srcId="{4CC83AC8-50C2-4497-8C50-F2FC6E5B169D}" destId="{C9ACF1D3-CDDA-4AFB-9361-EBE18D580EE1}" srcOrd="9" destOrd="0" presId="urn:microsoft.com/office/officeart/2005/8/layout/cycle5"/>
    <dgm:cxn modelId="{CA8A8796-C591-4BB5-BB3F-5059F49DE63D}" type="presParOf" srcId="{4CC83AC8-50C2-4497-8C50-F2FC6E5B169D}" destId="{FADDAA4E-FC2E-4A62-A189-DCFDE0D2E496}" srcOrd="10" destOrd="0" presId="urn:microsoft.com/office/officeart/2005/8/layout/cycle5"/>
    <dgm:cxn modelId="{D1EF56D2-40A1-4BEC-938C-B75664EC9E11}" type="presParOf" srcId="{4CC83AC8-50C2-4497-8C50-F2FC6E5B169D}" destId="{87ADDAC4-05A3-40AC-8ECF-E637C819250B}" srcOrd="11" destOrd="0" presId="urn:microsoft.com/office/officeart/2005/8/layout/cycle5"/>
    <dgm:cxn modelId="{A5D308F3-5422-4692-B6C7-5D65BCE7C890}" type="presParOf" srcId="{4CC83AC8-50C2-4497-8C50-F2FC6E5B169D}" destId="{0F2D9E6B-819C-4252-A8CC-E00389ADAFA5}" srcOrd="12" destOrd="0" presId="urn:microsoft.com/office/officeart/2005/8/layout/cycle5"/>
    <dgm:cxn modelId="{53667F25-D451-49FB-9B67-965B5064F841}" type="presParOf" srcId="{4CC83AC8-50C2-4497-8C50-F2FC6E5B169D}" destId="{820FFFDB-7C2C-429C-9024-B63E66FDE0D1}" srcOrd="13" destOrd="0" presId="urn:microsoft.com/office/officeart/2005/8/layout/cycle5"/>
    <dgm:cxn modelId="{1B880405-BE3C-4953-A498-10E953F9F12C}" type="presParOf" srcId="{4CC83AC8-50C2-4497-8C50-F2FC6E5B169D}" destId="{D26FF1F5-B2E6-413C-886D-2A1BAE413E22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597922E-460B-492A-A8D1-FA096DA945FE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EC286032-22DB-4344-8641-E8A00A2D32EF}">
      <dgm:prSet/>
      <dgm:spPr/>
      <dgm:t>
        <a:bodyPr/>
        <a:lstStyle/>
        <a:p>
          <a:pPr rtl="1"/>
          <a:r>
            <a:rPr lang="en-US" dirty="0" err="1"/>
            <a:t>في</a:t>
          </a:r>
          <a:r>
            <a:rPr lang="en-US" dirty="0"/>
            <a:t> </a:t>
          </a:r>
          <a:r>
            <a:rPr lang="en-US" dirty="0" err="1"/>
            <a:t>يوم</a:t>
          </a:r>
          <a:r>
            <a:rPr lang="en-US" dirty="0"/>
            <a:t> </a:t>
          </a:r>
          <a:r>
            <a:rPr lang="en-US" dirty="0" err="1"/>
            <a:t>امتحان</a:t>
          </a:r>
          <a:r>
            <a:rPr lang="en-US" dirty="0"/>
            <a:t> </a:t>
          </a:r>
          <a:r>
            <a:rPr lang="en-US" dirty="0" err="1"/>
            <a:t>صعب</a:t>
          </a:r>
          <a:r>
            <a:rPr lang="en-US" dirty="0"/>
            <a:t> </a:t>
          </a:r>
          <a:r>
            <a:rPr lang="en-US" dirty="0" err="1"/>
            <a:t>شعرت</a:t>
          </a:r>
          <a:r>
            <a:rPr lang="en-US" dirty="0"/>
            <a:t> </a:t>
          </a:r>
          <a:r>
            <a:rPr lang="en-US" dirty="0" err="1"/>
            <a:t>بالخوف</a:t>
          </a:r>
          <a:r>
            <a:rPr lang="en-US" dirty="0"/>
            <a:t>، </a:t>
          </a:r>
          <a:r>
            <a:rPr lang="en-US" dirty="0" err="1"/>
            <a:t>لكنّي</a:t>
          </a:r>
          <a:r>
            <a:rPr lang="en-US" dirty="0"/>
            <a:t> </a:t>
          </a:r>
          <a:r>
            <a:rPr lang="en-US" dirty="0" err="1"/>
            <a:t>صلّيت</a:t>
          </a:r>
          <a:r>
            <a:rPr lang="en-US" dirty="0"/>
            <a:t> </a:t>
          </a:r>
          <a:r>
            <a:rPr lang="en-US" dirty="0" err="1"/>
            <a:t>وطلبت</a:t>
          </a:r>
          <a:r>
            <a:rPr lang="en-US" dirty="0"/>
            <a:t> </a:t>
          </a:r>
          <a:r>
            <a:rPr lang="en-US" dirty="0" err="1"/>
            <a:t>من</a:t>
          </a:r>
          <a:r>
            <a:rPr lang="en-US" dirty="0"/>
            <a:t> </a:t>
          </a:r>
          <a:r>
            <a:rPr lang="en-US" dirty="0" err="1"/>
            <a:t>الله</a:t>
          </a:r>
          <a:r>
            <a:rPr lang="en-US" dirty="0"/>
            <a:t> </a:t>
          </a:r>
          <a:r>
            <a:rPr lang="en-US" dirty="0" err="1"/>
            <a:t>السلام</a:t>
          </a:r>
          <a:r>
            <a:rPr lang="en-US" dirty="0"/>
            <a:t>.</a:t>
          </a:r>
        </a:p>
      </dgm:t>
    </dgm:pt>
    <dgm:pt modelId="{539AE2F3-F536-44B1-9988-B57FF282A19B}" type="parTrans" cxnId="{E41A9885-82DF-470E-9505-5AAA4D24EB73}">
      <dgm:prSet/>
      <dgm:spPr/>
      <dgm:t>
        <a:bodyPr/>
        <a:lstStyle/>
        <a:p>
          <a:endParaRPr lang="en-US"/>
        </a:p>
      </dgm:t>
    </dgm:pt>
    <dgm:pt modelId="{10997C8A-D313-48FD-B177-86A79E364723}" type="sibTrans" cxnId="{E41A9885-82DF-470E-9505-5AAA4D24EB73}">
      <dgm:prSet/>
      <dgm:spPr/>
      <dgm:t>
        <a:bodyPr/>
        <a:lstStyle/>
        <a:p>
          <a:endParaRPr lang="en-US"/>
        </a:p>
      </dgm:t>
    </dgm:pt>
    <dgm:pt modelId="{54F16EBE-A100-447C-B3E1-58E8FD0A72FA}">
      <dgm:prSet/>
      <dgm:spPr/>
      <dgm:t>
        <a:bodyPr/>
        <a:lstStyle/>
        <a:p>
          <a:pPr algn="r" rtl="1"/>
          <a:r>
            <a:rPr lang="en-US" dirty="0" err="1"/>
            <a:t>درست</a:t>
          </a:r>
          <a:r>
            <a:rPr lang="en-US" dirty="0"/>
            <a:t> </a:t>
          </a:r>
          <a:r>
            <a:rPr lang="en-US" dirty="0" err="1"/>
            <a:t>بجد</a:t>
          </a:r>
          <a:r>
            <a:rPr lang="en-US" dirty="0"/>
            <a:t> </a:t>
          </a:r>
          <a:r>
            <a:rPr lang="en-US" dirty="0" err="1"/>
            <a:t>ودخلت</a:t>
          </a:r>
          <a:r>
            <a:rPr lang="en-US" dirty="0"/>
            <a:t> </a:t>
          </a:r>
          <a:r>
            <a:rPr lang="en-US" dirty="0" err="1"/>
            <a:t>الامتحان</a:t>
          </a:r>
          <a:r>
            <a:rPr lang="en-US" dirty="0"/>
            <a:t> </a:t>
          </a:r>
          <a:r>
            <a:rPr lang="en-US" dirty="0" err="1"/>
            <a:t>بثقة</a:t>
          </a:r>
          <a:r>
            <a:rPr lang="en-US" dirty="0"/>
            <a:t>، </a:t>
          </a:r>
          <a:r>
            <a:rPr lang="en-US" dirty="0" err="1"/>
            <a:t>وبالفعل</a:t>
          </a:r>
          <a:r>
            <a:rPr lang="en-US" dirty="0"/>
            <a:t> </a:t>
          </a:r>
          <a:r>
            <a:rPr lang="en-US" dirty="0" err="1"/>
            <a:t>نجحت</a:t>
          </a:r>
          <a:r>
            <a:rPr lang="en-US" dirty="0"/>
            <a:t> </a:t>
          </a:r>
          <a:r>
            <a:rPr lang="en-US" dirty="0" err="1"/>
            <a:t>وشعرت</a:t>
          </a:r>
          <a:r>
            <a:rPr lang="en-US" dirty="0"/>
            <a:t> </a:t>
          </a:r>
          <a:r>
            <a:rPr lang="en-US" dirty="0" err="1"/>
            <a:t>أن</a:t>
          </a:r>
          <a:r>
            <a:rPr lang="en-US" dirty="0"/>
            <a:t> </a:t>
          </a:r>
          <a:r>
            <a:rPr lang="en-US" dirty="0" err="1"/>
            <a:t>الإيمان</a:t>
          </a:r>
          <a:r>
            <a:rPr lang="en-US" dirty="0"/>
            <a:t> </a:t>
          </a:r>
          <a:r>
            <a:rPr lang="en-US" dirty="0" err="1"/>
            <a:t>أعطاني</a:t>
          </a:r>
          <a:r>
            <a:rPr lang="en-US" dirty="0"/>
            <a:t> </a:t>
          </a:r>
          <a:r>
            <a:rPr lang="en-US" dirty="0" err="1"/>
            <a:t>قوة</a:t>
          </a:r>
          <a:r>
            <a:rPr lang="en-US" dirty="0"/>
            <a:t> </a:t>
          </a:r>
          <a:r>
            <a:rPr lang="en-US" dirty="0" err="1"/>
            <a:t>وشجاعة</a:t>
          </a:r>
          <a:r>
            <a:rPr lang="en-US" dirty="0"/>
            <a:t>.</a:t>
          </a:r>
        </a:p>
      </dgm:t>
    </dgm:pt>
    <dgm:pt modelId="{7C3278BE-8015-4717-A8EA-F0CB3F9BB770}" type="parTrans" cxnId="{B2864C69-3254-40F1-8361-8A3115DF9D70}">
      <dgm:prSet/>
      <dgm:spPr/>
      <dgm:t>
        <a:bodyPr/>
        <a:lstStyle/>
        <a:p>
          <a:endParaRPr lang="en-US"/>
        </a:p>
      </dgm:t>
    </dgm:pt>
    <dgm:pt modelId="{235673A4-3703-4781-BB40-650693D67F66}" type="sibTrans" cxnId="{B2864C69-3254-40F1-8361-8A3115DF9D70}">
      <dgm:prSet/>
      <dgm:spPr/>
      <dgm:t>
        <a:bodyPr/>
        <a:lstStyle/>
        <a:p>
          <a:endParaRPr lang="en-US"/>
        </a:p>
      </dgm:t>
    </dgm:pt>
    <dgm:pt modelId="{38C58400-EBC6-499B-87EC-E618456BE35D}" type="pres">
      <dgm:prSet presAssocID="{C597922E-460B-492A-A8D1-FA096DA945FE}" presName="linear" presStyleCnt="0">
        <dgm:presLayoutVars>
          <dgm:animLvl val="lvl"/>
          <dgm:resizeHandles val="exact"/>
        </dgm:presLayoutVars>
      </dgm:prSet>
      <dgm:spPr/>
    </dgm:pt>
    <dgm:pt modelId="{9CECE6B3-4019-4488-91EA-90971DA67A80}" type="pres">
      <dgm:prSet presAssocID="{EC286032-22DB-4344-8641-E8A00A2D32EF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58DB5B8-4B12-4CB3-AE23-79AF8FEC91B3}" type="pres">
      <dgm:prSet presAssocID="{10997C8A-D313-48FD-B177-86A79E364723}" presName="spacer" presStyleCnt="0"/>
      <dgm:spPr/>
    </dgm:pt>
    <dgm:pt modelId="{173C461C-C94D-4FCE-888A-4622799FBC64}" type="pres">
      <dgm:prSet presAssocID="{54F16EBE-A100-447C-B3E1-58E8FD0A72FA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1A143B2B-E4CE-4347-B15A-7CEDB78DD528}" type="presOf" srcId="{54F16EBE-A100-447C-B3E1-58E8FD0A72FA}" destId="{173C461C-C94D-4FCE-888A-4622799FBC64}" srcOrd="0" destOrd="0" presId="urn:microsoft.com/office/officeart/2005/8/layout/vList2"/>
    <dgm:cxn modelId="{D4840E65-AED0-482D-B7C8-A1989B41C2D7}" type="presOf" srcId="{EC286032-22DB-4344-8641-E8A00A2D32EF}" destId="{9CECE6B3-4019-4488-91EA-90971DA67A80}" srcOrd="0" destOrd="0" presId="urn:microsoft.com/office/officeart/2005/8/layout/vList2"/>
    <dgm:cxn modelId="{B2864C69-3254-40F1-8361-8A3115DF9D70}" srcId="{C597922E-460B-492A-A8D1-FA096DA945FE}" destId="{54F16EBE-A100-447C-B3E1-58E8FD0A72FA}" srcOrd="1" destOrd="0" parTransId="{7C3278BE-8015-4717-A8EA-F0CB3F9BB770}" sibTransId="{235673A4-3703-4781-BB40-650693D67F66}"/>
    <dgm:cxn modelId="{E41A9885-82DF-470E-9505-5AAA4D24EB73}" srcId="{C597922E-460B-492A-A8D1-FA096DA945FE}" destId="{EC286032-22DB-4344-8641-E8A00A2D32EF}" srcOrd="0" destOrd="0" parTransId="{539AE2F3-F536-44B1-9988-B57FF282A19B}" sibTransId="{10997C8A-D313-48FD-B177-86A79E364723}"/>
    <dgm:cxn modelId="{5AF15CC5-44C9-4182-98AD-05F7206086C8}" type="presOf" srcId="{C597922E-460B-492A-A8D1-FA096DA945FE}" destId="{38C58400-EBC6-499B-87EC-E618456BE35D}" srcOrd="0" destOrd="0" presId="urn:microsoft.com/office/officeart/2005/8/layout/vList2"/>
    <dgm:cxn modelId="{F3B8A4C8-DEE3-4EA1-A08C-402DF944601A}" type="presParOf" srcId="{38C58400-EBC6-499B-87EC-E618456BE35D}" destId="{9CECE6B3-4019-4488-91EA-90971DA67A80}" srcOrd="0" destOrd="0" presId="urn:microsoft.com/office/officeart/2005/8/layout/vList2"/>
    <dgm:cxn modelId="{5AFF574E-A984-4397-992A-C98C93D39BFC}" type="presParOf" srcId="{38C58400-EBC6-499B-87EC-E618456BE35D}" destId="{458DB5B8-4B12-4CB3-AE23-79AF8FEC91B3}" srcOrd="1" destOrd="0" presId="urn:microsoft.com/office/officeart/2005/8/layout/vList2"/>
    <dgm:cxn modelId="{D4820C85-19B2-4FF9-BBFC-ED0A8A69BCA5}" type="presParOf" srcId="{38C58400-EBC6-499B-87EC-E618456BE35D}" destId="{173C461C-C94D-4FCE-888A-4622799FBC64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CD1035-14E4-4430-9825-43B45E94185C}">
      <dsp:nvSpPr>
        <dsp:cNvPr id="0" name=""/>
        <dsp:cNvSpPr/>
      </dsp:nvSpPr>
      <dsp:spPr>
        <a:xfrm>
          <a:off x="757092" y="1992"/>
          <a:ext cx="3034531" cy="18207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 </a:t>
          </a:r>
          <a:r>
            <a:rPr lang="en-US" sz="3600" kern="1200" dirty="0" err="1"/>
            <a:t>وُلِدت</a:t>
          </a:r>
          <a:r>
            <a:rPr lang="en-US" sz="3600" kern="1200" dirty="0"/>
            <a:t> </a:t>
          </a:r>
          <a:r>
            <a:rPr lang="en-US" sz="3600" kern="1200" dirty="0" err="1"/>
            <a:t>سنة</a:t>
          </a:r>
          <a:r>
            <a:rPr lang="en-US" sz="3600" kern="1200" dirty="0"/>
            <a:t> </a:t>
          </a:r>
          <a:r>
            <a:rPr lang="ar-JO" sz="3600" kern="1200" dirty="0"/>
            <a:t>1843 في القدس</a:t>
          </a:r>
          <a:endParaRPr lang="en-US" sz="3600" kern="1200" dirty="0"/>
        </a:p>
      </dsp:txBody>
      <dsp:txXfrm>
        <a:off x="757092" y="1992"/>
        <a:ext cx="3034531" cy="1820718"/>
      </dsp:txXfrm>
    </dsp:sp>
    <dsp:sp modelId="{11C367BF-27C8-423F-9D28-77C3D48F1DE4}">
      <dsp:nvSpPr>
        <dsp:cNvPr id="0" name=""/>
        <dsp:cNvSpPr/>
      </dsp:nvSpPr>
      <dsp:spPr>
        <a:xfrm>
          <a:off x="4095076" y="1992"/>
          <a:ext cx="3034531" cy="1820718"/>
        </a:xfrm>
        <a:prstGeom prst="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/>
            <a:t>دخلت</a:t>
          </a:r>
          <a:r>
            <a:rPr lang="en-US" sz="3600" kern="1200" dirty="0"/>
            <a:t> </a:t>
          </a:r>
          <a:r>
            <a:rPr lang="en-US" sz="3600" kern="1200" dirty="0" err="1"/>
            <a:t>الحياة</a:t>
          </a:r>
          <a:r>
            <a:rPr lang="en-US" sz="3600" kern="1200" dirty="0"/>
            <a:t> </a:t>
          </a:r>
          <a:r>
            <a:rPr lang="en-US" sz="3600" kern="1200" dirty="0" err="1"/>
            <a:t>الرهبانية</a:t>
          </a:r>
          <a:r>
            <a:rPr lang="en-US" sz="3600" kern="1200" dirty="0"/>
            <a:t> </a:t>
          </a:r>
          <a:r>
            <a:rPr lang="en-US" sz="3600" kern="1200" dirty="0" err="1"/>
            <a:t>وهي</a:t>
          </a:r>
          <a:r>
            <a:rPr lang="en-US" sz="3600" kern="1200" dirty="0"/>
            <a:t> </a:t>
          </a:r>
          <a:r>
            <a:rPr lang="en-US" sz="3600" kern="1200" dirty="0" err="1"/>
            <a:t>شابة</a:t>
          </a:r>
          <a:endParaRPr lang="en-US" sz="3600" kern="1200" dirty="0"/>
        </a:p>
      </dsp:txBody>
      <dsp:txXfrm>
        <a:off x="4095076" y="1992"/>
        <a:ext cx="3034531" cy="1820718"/>
      </dsp:txXfrm>
    </dsp:sp>
    <dsp:sp modelId="{89CFB9E5-EBCD-4B2C-85C3-6871360C2113}">
      <dsp:nvSpPr>
        <dsp:cNvPr id="0" name=""/>
        <dsp:cNvSpPr/>
      </dsp:nvSpPr>
      <dsp:spPr>
        <a:xfrm>
          <a:off x="757092" y="2126164"/>
          <a:ext cx="3034531" cy="1820718"/>
        </a:xfrm>
        <a:prstGeom prst="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 </a:t>
          </a:r>
          <a:r>
            <a:rPr lang="en-US" sz="3600" kern="1200" dirty="0" err="1"/>
            <a:t>كرّست</a:t>
          </a:r>
          <a:r>
            <a:rPr lang="en-US" sz="3600" kern="1200" dirty="0"/>
            <a:t> </a:t>
          </a:r>
          <a:r>
            <a:rPr lang="en-US" sz="3600" kern="1200" dirty="0" err="1"/>
            <a:t>حياتها</a:t>
          </a:r>
          <a:r>
            <a:rPr lang="en-US" sz="3600" kern="1200" dirty="0"/>
            <a:t> </a:t>
          </a:r>
          <a:r>
            <a:rPr lang="en-US" sz="3600" kern="1200" dirty="0" err="1"/>
            <a:t>للتعليم</a:t>
          </a:r>
          <a:r>
            <a:rPr lang="en-US" sz="3600" kern="1200" dirty="0"/>
            <a:t> </a:t>
          </a:r>
          <a:r>
            <a:rPr lang="en-US" sz="3600" kern="1200" dirty="0" err="1"/>
            <a:t>وخدمة</a:t>
          </a:r>
          <a:r>
            <a:rPr lang="en-US" sz="3600" kern="1200" dirty="0"/>
            <a:t> </a:t>
          </a:r>
          <a:r>
            <a:rPr lang="en-US" sz="3600" kern="1200" dirty="0" err="1"/>
            <a:t>الفقراء</a:t>
          </a:r>
          <a:endParaRPr lang="en-US" sz="3600" kern="1200" dirty="0"/>
        </a:p>
      </dsp:txBody>
      <dsp:txXfrm>
        <a:off x="757092" y="2126164"/>
        <a:ext cx="3034531" cy="1820718"/>
      </dsp:txXfrm>
    </dsp:sp>
    <dsp:sp modelId="{CE8615C5-1AA5-42F2-A6C1-68114712DA9E}">
      <dsp:nvSpPr>
        <dsp:cNvPr id="0" name=""/>
        <dsp:cNvSpPr/>
      </dsp:nvSpPr>
      <dsp:spPr>
        <a:xfrm>
          <a:off x="4095076" y="2126164"/>
          <a:ext cx="3034531" cy="1820718"/>
        </a:xfrm>
        <a:prstGeom prst="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/>
            <a:t>أسست</a:t>
          </a:r>
          <a:r>
            <a:rPr lang="en-US" sz="3600" kern="1200" dirty="0"/>
            <a:t> </a:t>
          </a:r>
          <a:r>
            <a:rPr lang="en-US" sz="3600" kern="1200" dirty="0" err="1"/>
            <a:t>رهبانية</a:t>
          </a:r>
          <a:r>
            <a:rPr lang="en-US" sz="3600" kern="1200" dirty="0"/>
            <a:t> </a:t>
          </a:r>
          <a:r>
            <a:rPr lang="en-US" sz="3600" kern="1200" dirty="0" err="1"/>
            <a:t>الوردية</a:t>
          </a:r>
          <a:r>
            <a:rPr lang="en-US" sz="3600" kern="1200" dirty="0"/>
            <a:t> </a:t>
          </a:r>
          <a:r>
            <a:rPr lang="en-US" sz="3600" kern="1200" dirty="0" err="1"/>
            <a:t>بعد</a:t>
          </a:r>
          <a:r>
            <a:rPr lang="en-US" sz="3600" kern="1200" dirty="0"/>
            <a:t> </a:t>
          </a:r>
          <a:r>
            <a:rPr lang="en-US" sz="3600" kern="1200" dirty="0" err="1"/>
            <a:t>ظهور</a:t>
          </a:r>
          <a:r>
            <a:rPr lang="en-US" sz="3600" kern="1200" dirty="0"/>
            <a:t> </a:t>
          </a:r>
          <a:r>
            <a:rPr lang="en-US" sz="3600" kern="1200" dirty="0" err="1"/>
            <a:t>العذراء</a:t>
          </a:r>
          <a:r>
            <a:rPr lang="en-US" sz="3600" kern="1200" dirty="0"/>
            <a:t> </a:t>
          </a:r>
          <a:r>
            <a:rPr lang="en-US" sz="3600" kern="1200" dirty="0" err="1"/>
            <a:t>لها</a:t>
          </a:r>
          <a:endParaRPr lang="en-US" sz="3600" kern="1200" dirty="0"/>
        </a:p>
      </dsp:txBody>
      <dsp:txXfrm>
        <a:off x="4095076" y="2126164"/>
        <a:ext cx="3034531" cy="18207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5D19AC-92BC-4F53-B667-A95ECD13153B}">
      <dsp:nvSpPr>
        <dsp:cNvPr id="0" name=""/>
        <dsp:cNvSpPr/>
      </dsp:nvSpPr>
      <dsp:spPr>
        <a:xfrm>
          <a:off x="0" y="39707"/>
          <a:ext cx="7886700" cy="88744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• </a:t>
          </a:r>
          <a:r>
            <a:rPr lang="en-US" sz="3700" kern="1200" dirty="0" err="1"/>
            <a:t>الثقة</a:t>
          </a:r>
          <a:r>
            <a:rPr lang="en-US" sz="3700" kern="1200" dirty="0"/>
            <a:t> </a:t>
          </a:r>
          <a:r>
            <a:rPr lang="en-US" sz="3700" kern="1200" dirty="0" err="1"/>
            <a:t>الكاملة</a:t>
          </a:r>
          <a:r>
            <a:rPr lang="en-US" sz="3700" kern="1200" dirty="0"/>
            <a:t> </a:t>
          </a:r>
          <a:r>
            <a:rPr lang="en-US" sz="3700" kern="1200" dirty="0" err="1"/>
            <a:t>بالله</a:t>
          </a:r>
          <a:endParaRPr lang="en-US" sz="3700" kern="1200" dirty="0"/>
        </a:p>
      </dsp:txBody>
      <dsp:txXfrm>
        <a:off x="43321" y="83028"/>
        <a:ext cx="7800058" cy="800803"/>
      </dsp:txXfrm>
    </dsp:sp>
    <dsp:sp modelId="{55C5A1B8-AC0A-480C-8320-942EAE5D50D1}">
      <dsp:nvSpPr>
        <dsp:cNvPr id="0" name=""/>
        <dsp:cNvSpPr/>
      </dsp:nvSpPr>
      <dsp:spPr>
        <a:xfrm>
          <a:off x="0" y="1033713"/>
          <a:ext cx="7886700" cy="887445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• </a:t>
          </a:r>
          <a:r>
            <a:rPr lang="en-US" sz="3700" kern="1200" dirty="0" err="1"/>
            <a:t>تصديق</a:t>
          </a:r>
          <a:r>
            <a:rPr lang="en-US" sz="3700" kern="1200" dirty="0"/>
            <a:t> </a:t>
          </a:r>
          <a:r>
            <a:rPr lang="en-US" sz="3700" kern="1200" dirty="0" err="1"/>
            <a:t>وعوده</a:t>
          </a:r>
          <a:r>
            <a:rPr lang="en-US" sz="3700" kern="1200" dirty="0"/>
            <a:t> </a:t>
          </a:r>
          <a:r>
            <a:rPr lang="en-US" sz="3700" kern="1200" dirty="0" err="1"/>
            <a:t>مهما</a:t>
          </a:r>
          <a:r>
            <a:rPr lang="en-US" sz="3700" kern="1200" dirty="0"/>
            <a:t> </a:t>
          </a:r>
          <a:r>
            <a:rPr lang="en-US" sz="3700" kern="1200" dirty="0" err="1"/>
            <a:t>كانت</a:t>
          </a:r>
          <a:r>
            <a:rPr lang="en-US" sz="3700" kern="1200" dirty="0"/>
            <a:t> </a:t>
          </a:r>
          <a:r>
            <a:rPr lang="en-US" sz="3700" kern="1200" dirty="0" err="1"/>
            <a:t>الظروف</a:t>
          </a:r>
          <a:endParaRPr lang="en-US" sz="3700" kern="1200" dirty="0"/>
        </a:p>
      </dsp:txBody>
      <dsp:txXfrm>
        <a:off x="43321" y="1077034"/>
        <a:ext cx="7800058" cy="800803"/>
      </dsp:txXfrm>
    </dsp:sp>
    <dsp:sp modelId="{CF92C293-B13C-4DA0-A02D-ADB58B1585F6}">
      <dsp:nvSpPr>
        <dsp:cNvPr id="0" name=""/>
        <dsp:cNvSpPr/>
      </dsp:nvSpPr>
      <dsp:spPr>
        <a:xfrm>
          <a:off x="0" y="2027718"/>
          <a:ext cx="7886700" cy="887445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• </a:t>
          </a:r>
          <a:r>
            <a:rPr lang="en-US" sz="3700" kern="1200" dirty="0" err="1"/>
            <a:t>اتباع</a:t>
          </a:r>
          <a:r>
            <a:rPr lang="en-US" sz="3700" kern="1200" dirty="0"/>
            <a:t> </a:t>
          </a:r>
          <a:r>
            <a:rPr lang="en-US" sz="3700" kern="1200" dirty="0" err="1"/>
            <a:t>مشيئته</a:t>
          </a:r>
          <a:r>
            <a:rPr lang="en-US" sz="3700" kern="1200" dirty="0"/>
            <a:t> </a:t>
          </a:r>
          <a:r>
            <a:rPr lang="en-US" sz="3700" kern="1200" dirty="0" err="1"/>
            <a:t>في</a:t>
          </a:r>
          <a:r>
            <a:rPr lang="en-US" sz="3700" kern="1200" dirty="0"/>
            <a:t> </a:t>
          </a:r>
          <a:r>
            <a:rPr lang="en-US" sz="3700" kern="1200" dirty="0" err="1"/>
            <a:t>حياتنا</a:t>
          </a:r>
          <a:endParaRPr lang="en-US" sz="3700" kern="1200" dirty="0"/>
        </a:p>
      </dsp:txBody>
      <dsp:txXfrm>
        <a:off x="43321" y="2071039"/>
        <a:ext cx="7800058" cy="800803"/>
      </dsp:txXfrm>
    </dsp:sp>
    <dsp:sp modelId="{38838959-4881-47E0-B571-BB33118561EB}">
      <dsp:nvSpPr>
        <dsp:cNvPr id="0" name=""/>
        <dsp:cNvSpPr/>
      </dsp:nvSpPr>
      <dsp:spPr>
        <a:xfrm>
          <a:off x="0" y="3021723"/>
          <a:ext cx="7886700" cy="887445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• </a:t>
          </a:r>
          <a:r>
            <a:rPr lang="en-US" sz="3700" kern="1200" dirty="0" err="1"/>
            <a:t>الإيمان</a:t>
          </a:r>
          <a:r>
            <a:rPr lang="en-US" sz="3700" kern="1200" dirty="0"/>
            <a:t> </a:t>
          </a:r>
          <a:r>
            <a:rPr lang="en-US" sz="3700" kern="1200" dirty="0" err="1"/>
            <a:t>يظهر</a:t>
          </a:r>
          <a:r>
            <a:rPr lang="en-US" sz="3700" kern="1200" dirty="0"/>
            <a:t> </a:t>
          </a:r>
          <a:r>
            <a:rPr lang="en-US" sz="3700" kern="1200" dirty="0" err="1"/>
            <a:t>بالأعمال</a:t>
          </a:r>
          <a:r>
            <a:rPr lang="en-US" sz="3700" kern="1200" dirty="0"/>
            <a:t> </a:t>
          </a:r>
          <a:r>
            <a:rPr lang="en-US" sz="3700" kern="1200" dirty="0" err="1"/>
            <a:t>لا</a:t>
          </a:r>
          <a:r>
            <a:rPr lang="en-US" sz="3700" kern="1200" dirty="0"/>
            <a:t> </a:t>
          </a:r>
          <a:r>
            <a:rPr lang="en-US" sz="3700" kern="1200" dirty="0" err="1"/>
            <a:t>بالكلام</a:t>
          </a:r>
          <a:r>
            <a:rPr lang="en-US" sz="3700" kern="1200" dirty="0"/>
            <a:t> </a:t>
          </a:r>
          <a:r>
            <a:rPr lang="en-US" sz="3700" kern="1200" dirty="0" err="1"/>
            <a:t>فقط</a:t>
          </a:r>
          <a:endParaRPr lang="en-US" sz="3700" kern="1200" dirty="0"/>
        </a:p>
      </dsp:txBody>
      <dsp:txXfrm>
        <a:off x="43321" y="3065044"/>
        <a:ext cx="7800058" cy="8008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E5B646-CF1C-4C52-9AC1-011DBA6641F7}">
      <dsp:nvSpPr>
        <dsp:cNvPr id="0" name=""/>
        <dsp:cNvSpPr/>
      </dsp:nvSpPr>
      <dsp:spPr>
        <a:xfrm>
          <a:off x="757092" y="1992"/>
          <a:ext cx="3034531" cy="18207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 err="1"/>
            <a:t>وثقت</a:t>
          </a:r>
          <a:r>
            <a:rPr lang="en-US" sz="3700" kern="1200" dirty="0"/>
            <a:t> </a:t>
          </a:r>
          <a:r>
            <a:rPr lang="en-US" sz="3700" kern="1200" dirty="0" err="1"/>
            <a:t>بالله</a:t>
          </a:r>
          <a:r>
            <a:rPr lang="en-US" sz="3700" kern="1200" dirty="0"/>
            <a:t> </a:t>
          </a:r>
          <a:r>
            <a:rPr lang="en-US" sz="3700" kern="1200" dirty="0" err="1"/>
            <a:t>في</a:t>
          </a:r>
          <a:r>
            <a:rPr lang="en-US" sz="3700" kern="1200" dirty="0"/>
            <a:t> </a:t>
          </a:r>
          <a:r>
            <a:rPr lang="en-US" sz="3700" kern="1200" dirty="0" err="1"/>
            <a:t>كل</a:t>
          </a:r>
          <a:r>
            <a:rPr lang="en-US" sz="3700" kern="1200" dirty="0"/>
            <a:t> </a:t>
          </a:r>
          <a:r>
            <a:rPr lang="en-US" sz="3700" kern="1200" dirty="0" err="1"/>
            <a:t>خطوات</a:t>
          </a:r>
          <a:r>
            <a:rPr lang="en-US" sz="3700" kern="1200" dirty="0"/>
            <a:t> </a:t>
          </a:r>
          <a:r>
            <a:rPr lang="en-US" sz="3700" kern="1200" dirty="0" err="1"/>
            <a:t>حياتها</a:t>
          </a:r>
          <a:endParaRPr lang="en-US" sz="3700" kern="1200" dirty="0"/>
        </a:p>
      </dsp:txBody>
      <dsp:txXfrm>
        <a:off x="757092" y="1992"/>
        <a:ext cx="3034531" cy="1820718"/>
      </dsp:txXfrm>
    </dsp:sp>
    <dsp:sp modelId="{62367A92-0F4F-4B18-9D37-7E57EC4C7977}">
      <dsp:nvSpPr>
        <dsp:cNvPr id="0" name=""/>
        <dsp:cNvSpPr/>
      </dsp:nvSpPr>
      <dsp:spPr>
        <a:xfrm>
          <a:off x="4095076" y="1992"/>
          <a:ext cx="3034531" cy="1820718"/>
        </a:xfrm>
        <a:prstGeom prst="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 err="1"/>
            <a:t>استجابت</a:t>
          </a:r>
          <a:r>
            <a:rPr lang="en-US" sz="3700" kern="1200" dirty="0"/>
            <a:t> </a:t>
          </a:r>
          <a:r>
            <a:rPr lang="en-US" sz="3700" kern="1200" dirty="0" err="1"/>
            <a:t>لطلب</a:t>
          </a:r>
          <a:r>
            <a:rPr lang="en-US" sz="3700" kern="1200" dirty="0"/>
            <a:t> </a:t>
          </a:r>
          <a:r>
            <a:rPr lang="en-US" sz="3700" kern="1200" dirty="0" err="1"/>
            <a:t>العذراء</a:t>
          </a:r>
          <a:r>
            <a:rPr lang="en-US" sz="3700" kern="1200" dirty="0"/>
            <a:t> </a:t>
          </a:r>
          <a:r>
            <a:rPr lang="en-US" sz="3700" kern="1200" dirty="0" err="1"/>
            <a:t>دون</a:t>
          </a:r>
          <a:r>
            <a:rPr lang="en-US" sz="3700" kern="1200" dirty="0"/>
            <a:t> </a:t>
          </a:r>
          <a:r>
            <a:rPr lang="en-US" sz="3700" kern="1200" dirty="0" err="1"/>
            <a:t>تردد</a:t>
          </a:r>
          <a:endParaRPr lang="en-US" sz="3700" kern="1200" dirty="0"/>
        </a:p>
      </dsp:txBody>
      <dsp:txXfrm>
        <a:off x="4095076" y="1992"/>
        <a:ext cx="3034531" cy="1820718"/>
      </dsp:txXfrm>
    </dsp:sp>
    <dsp:sp modelId="{7126A1AF-DEE7-4344-957C-6C938E180635}">
      <dsp:nvSpPr>
        <dsp:cNvPr id="0" name=""/>
        <dsp:cNvSpPr/>
      </dsp:nvSpPr>
      <dsp:spPr>
        <a:xfrm>
          <a:off x="757092" y="2126164"/>
          <a:ext cx="3034531" cy="1820718"/>
        </a:xfrm>
        <a:prstGeom prst="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 err="1"/>
            <a:t>واجهت</a:t>
          </a:r>
          <a:r>
            <a:rPr lang="en-US" sz="3700" kern="1200" dirty="0"/>
            <a:t> </a:t>
          </a:r>
          <a:r>
            <a:rPr lang="en-US" sz="3700" kern="1200" dirty="0" err="1"/>
            <a:t>الصعوبات</a:t>
          </a:r>
          <a:r>
            <a:rPr lang="en-US" sz="3700" kern="1200" dirty="0"/>
            <a:t> </a:t>
          </a:r>
          <a:r>
            <a:rPr lang="en-US" sz="3700" kern="1200" dirty="0" err="1"/>
            <a:t>بثبات</a:t>
          </a:r>
          <a:r>
            <a:rPr lang="en-US" sz="3700" kern="1200" dirty="0"/>
            <a:t> </a:t>
          </a:r>
          <a:r>
            <a:rPr lang="en-US" sz="3700" kern="1200" dirty="0" err="1"/>
            <a:t>وإيمان</a:t>
          </a:r>
          <a:endParaRPr lang="en-US" sz="3700" kern="1200" dirty="0"/>
        </a:p>
      </dsp:txBody>
      <dsp:txXfrm>
        <a:off x="757092" y="2126164"/>
        <a:ext cx="3034531" cy="1820718"/>
      </dsp:txXfrm>
    </dsp:sp>
    <dsp:sp modelId="{6B667D6F-B10D-42C0-BB07-DF0A93EF6F14}">
      <dsp:nvSpPr>
        <dsp:cNvPr id="0" name=""/>
        <dsp:cNvSpPr/>
      </dsp:nvSpPr>
      <dsp:spPr>
        <a:xfrm>
          <a:off x="4095076" y="2126164"/>
          <a:ext cx="3034531" cy="1820718"/>
        </a:xfrm>
        <a:prstGeom prst="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r" defTabSz="16446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 err="1"/>
            <a:t>كرّست</a:t>
          </a:r>
          <a:r>
            <a:rPr lang="en-US" sz="3700" kern="1200" dirty="0"/>
            <a:t> </a:t>
          </a:r>
          <a:r>
            <a:rPr lang="en-US" sz="3700" kern="1200" dirty="0" err="1"/>
            <a:t>حياتها</a:t>
          </a:r>
          <a:r>
            <a:rPr lang="en-US" sz="3700" kern="1200" dirty="0"/>
            <a:t> </a:t>
          </a:r>
          <a:r>
            <a:rPr lang="en-US" sz="3700" kern="1200" dirty="0" err="1"/>
            <a:t>للتعليم</a:t>
          </a:r>
          <a:r>
            <a:rPr lang="en-US" sz="3700" kern="1200" dirty="0"/>
            <a:t> </a:t>
          </a:r>
          <a:r>
            <a:rPr lang="en-US" sz="3700" kern="1200" dirty="0" err="1"/>
            <a:t>والخدمة</a:t>
          </a:r>
          <a:endParaRPr lang="en-US" sz="3700" kern="1200" dirty="0"/>
        </a:p>
      </dsp:txBody>
      <dsp:txXfrm>
        <a:off x="4095076" y="2126164"/>
        <a:ext cx="3034531" cy="18207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06144F-CA7F-4FD1-8044-50F534B24FC3}">
      <dsp:nvSpPr>
        <dsp:cNvPr id="0" name=""/>
        <dsp:cNvSpPr/>
      </dsp:nvSpPr>
      <dsp:spPr>
        <a:xfrm>
          <a:off x="1278677" y="3173"/>
          <a:ext cx="2478668" cy="1487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 err="1"/>
            <a:t>الإيمان</a:t>
          </a:r>
          <a:r>
            <a:rPr lang="en-US" sz="3000" kern="1200" dirty="0"/>
            <a:t> </a:t>
          </a:r>
          <a:r>
            <a:rPr lang="en-US" sz="3000" kern="1200" dirty="0" err="1"/>
            <a:t>هو</a:t>
          </a:r>
          <a:r>
            <a:rPr lang="en-US" sz="3000" kern="1200" dirty="0"/>
            <a:t> </a:t>
          </a:r>
          <a:r>
            <a:rPr lang="en-US" sz="3000" kern="1200" dirty="0" err="1"/>
            <a:t>الأساس</a:t>
          </a:r>
          <a:r>
            <a:rPr lang="en-US" sz="3000" kern="1200" dirty="0"/>
            <a:t> </a:t>
          </a:r>
          <a:r>
            <a:rPr lang="en-US" sz="3000" kern="1200" dirty="0" err="1"/>
            <a:t>في</a:t>
          </a:r>
          <a:r>
            <a:rPr lang="en-US" sz="3000" kern="1200" dirty="0"/>
            <a:t> </a:t>
          </a:r>
          <a:r>
            <a:rPr lang="en-US" sz="3000" kern="1200" dirty="0" err="1"/>
            <a:t>علاقتنا</a:t>
          </a:r>
          <a:r>
            <a:rPr lang="en-US" sz="3000" kern="1200" dirty="0"/>
            <a:t> </a:t>
          </a:r>
          <a:r>
            <a:rPr lang="en-US" sz="3000" kern="1200" dirty="0" err="1"/>
            <a:t>مع</a:t>
          </a:r>
          <a:r>
            <a:rPr lang="en-US" sz="3000" kern="1200" dirty="0"/>
            <a:t> </a:t>
          </a:r>
          <a:r>
            <a:rPr lang="en-US" sz="3000" kern="1200" dirty="0" err="1"/>
            <a:t>الله</a:t>
          </a:r>
          <a:endParaRPr lang="en-US" sz="3000" kern="1200" dirty="0"/>
        </a:p>
      </dsp:txBody>
      <dsp:txXfrm>
        <a:off x="1278677" y="3173"/>
        <a:ext cx="2478668" cy="1487200"/>
      </dsp:txXfrm>
    </dsp:sp>
    <dsp:sp modelId="{3C65DF7F-EEF7-4068-90A1-B9D66F2F95BC}">
      <dsp:nvSpPr>
        <dsp:cNvPr id="0" name=""/>
        <dsp:cNvSpPr/>
      </dsp:nvSpPr>
      <dsp:spPr>
        <a:xfrm>
          <a:off x="1278677" y="1738241"/>
          <a:ext cx="2478668" cy="1487200"/>
        </a:xfrm>
        <a:prstGeom prst="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 err="1"/>
            <a:t>يعطينا</a:t>
          </a:r>
          <a:r>
            <a:rPr lang="en-US" sz="3000" kern="1200" dirty="0"/>
            <a:t> </a:t>
          </a:r>
          <a:r>
            <a:rPr lang="en-US" sz="3000" kern="1200" dirty="0" err="1"/>
            <a:t>سلاماً</a:t>
          </a:r>
          <a:r>
            <a:rPr lang="en-US" sz="3000" kern="1200" dirty="0"/>
            <a:t> </a:t>
          </a:r>
          <a:r>
            <a:rPr lang="en-US" sz="3000" kern="1200" dirty="0" err="1"/>
            <a:t>وقوة</a:t>
          </a:r>
          <a:r>
            <a:rPr lang="en-US" sz="3000" kern="1200" dirty="0"/>
            <a:t> </a:t>
          </a:r>
          <a:r>
            <a:rPr lang="en-US" sz="3000" kern="1200" dirty="0" err="1"/>
            <a:t>في</a:t>
          </a:r>
          <a:r>
            <a:rPr lang="en-US" sz="3000" kern="1200" dirty="0"/>
            <a:t> </a:t>
          </a:r>
          <a:r>
            <a:rPr lang="en-US" sz="3000" kern="1200" dirty="0" err="1"/>
            <a:t>الصعوبات</a:t>
          </a:r>
          <a:endParaRPr lang="en-US" sz="3000" kern="1200" dirty="0"/>
        </a:p>
      </dsp:txBody>
      <dsp:txXfrm>
        <a:off x="1278677" y="1738241"/>
        <a:ext cx="2478668" cy="1487200"/>
      </dsp:txXfrm>
    </dsp:sp>
    <dsp:sp modelId="{752002BF-846F-40A8-A41F-BE1EFEF07469}">
      <dsp:nvSpPr>
        <dsp:cNvPr id="0" name=""/>
        <dsp:cNvSpPr/>
      </dsp:nvSpPr>
      <dsp:spPr>
        <a:xfrm>
          <a:off x="1278677" y="3473308"/>
          <a:ext cx="2478668" cy="1487200"/>
        </a:xfrm>
        <a:prstGeom prst="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 err="1"/>
            <a:t>يجعلنا</a:t>
          </a:r>
          <a:r>
            <a:rPr lang="en-US" sz="3000" kern="1200" dirty="0"/>
            <a:t> </a:t>
          </a:r>
          <a:r>
            <a:rPr lang="en-US" sz="3000" kern="1200" dirty="0" err="1"/>
            <a:t>نعيش</a:t>
          </a:r>
          <a:r>
            <a:rPr lang="en-US" sz="3000" kern="1200" dirty="0"/>
            <a:t> </a:t>
          </a:r>
          <a:r>
            <a:rPr lang="en-US" sz="3000" kern="1200" dirty="0" err="1"/>
            <a:t>تعاليم</a:t>
          </a:r>
          <a:r>
            <a:rPr lang="en-US" sz="3000" kern="1200" dirty="0"/>
            <a:t> </a:t>
          </a:r>
          <a:r>
            <a:rPr lang="en-US" sz="3000" kern="1200" dirty="0" err="1"/>
            <a:t>المسيح</a:t>
          </a:r>
          <a:r>
            <a:rPr lang="en-US" sz="3000" kern="1200" dirty="0"/>
            <a:t> </a:t>
          </a:r>
          <a:r>
            <a:rPr lang="en-US" sz="3000" kern="1200" dirty="0" err="1"/>
            <a:t>يومياً</a:t>
          </a:r>
          <a:endParaRPr lang="en-US" sz="3000" kern="1200" dirty="0"/>
        </a:p>
      </dsp:txBody>
      <dsp:txXfrm>
        <a:off x="1278677" y="3473308"/>
        <a:ext cx="2478668" cy="1487200"/>
      </dsp:txXfrm>
    </dsp:sp>
    <dsp:sp modelId="{2203FABD-2B09-4279-B075-85930F281303}">
      <dsp:nvSpPr>
        <dsp:cNvPr id="0" name=""/>
        <dsp:cNvSpPr/>
      </dsp:nvSpPr>
      <dsp:spPr>
        <a:xfrm>
          <a:off x="1278677" y="5208376"/>
          <a:ext cx="2478668" cy="1487200"/>
        </a:xfrm>
        <a:prstGeom prst="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 err="1"/>
            <a:t>يقربنا</a:t>
          </a:r>
          <a:r>
            <a:rPr lang="en-US" sz="3000" kern="1200" dirty="0"/>
            <a:t> </a:t>
          </a:r>
          <a:r>
            <a:rPr lang="en-US" sz="3000" kern="1200" dirty="0" err="1"/>
            <a:t>من</a:t>
          </a:r>
          <a:r>
            <a:rPr lang="en-US" sz="3000" kern="1200" dirty="0"/>
            <a:t> </a:t>
          </a:r>
          <a:r>
            <a:rPr lang="en-US" sz="3000" kern="1200" dirty="0" err="1"/>
            <a:t>الكنيسة</a:t>
          </a:r>
          <a:r>
            <a:rPr lang="en-US" sz="3000" kern="1200" dirty="0"/>
            <a:t> </a:t>
          </a:r>
          <a:r>
            <a:rPr lang="en-US" sz="3000" kern="1200" dirty="0" err="1"/>
            <a:t>والأسرار</a:t>
          </a:r>
          <a:endParaRPr lang="en-US" sz="3000" kern="1200" dirty="0"/>
        </a:p>
      </dsp:txBody>
      <dsp:txXfrm>
        <a:off x="1278677" y="5208376"/>
        <a:ext cx="2478668" cy="14872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01EDC2-1111-4BBA-8C86-435B9E8F3934}">
      <dsp:nvSpPr>
        <dsp:cNvPr id="0" name=""/>
        <dsp:cNvSpPr/>
      </dsp:nvSpPr>
      <dsp:spPr>
        <a:xfrm>
          <a:off x="3409610" y="675"/>
          <a:ext cx="1376650" cy="8948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الصلاة</a:t>
          </a:r>
          <a:r>
            <a:rPr lang="en-US" sz="1600" kern="1200" dirty="0"/>
            <a:t> </a:t>
          </a:r>
          <a:r>
            <a:rPr lang="en-US" sz="1600" kern="1200" dirty="0" err="1"/>
            <a:t>اليومية</a:t>
          </a:r>
          <a:endParaRPr lang="en-US" sz="1600" kern="1200" dirty="0"/>
        </a:p>
      </dsp:txBody>
      <dsp:txXfrm>
        <a:off x="3453292" y="44357"/>
        <a:ext cx="1289286" cy="807458"/>
      </dsp:txXfrm>
    </dsp:sp>
    <dsp:sp modelId="{DEE643C1-50CC-44C1-95F6-A0F72871F7B9}">
      <dsp:nvSpPr>
        <dsp:cNvPr id="0" name=""/>
        <dsp:cNvSpPr/>
      </dsp:nvSpPr>
      <dsp:spPr>
        <a:xfrm>
          <a:off x="2308513" y="448086"/>
          <a:ext cx="3578844" cy="3578844"/>
        </a:xfrm>
        <a:custGeom>
          <a:avLst/>
          <a:gdLst/>
          <a:ahLst/>
          <a:cxnLst/>
          <a:rect l="0" t="0" r="0" b="0"/>
          <a:pathLst>
            <a:path>
              <a:moveTo>
                <a:pt x="2662578" y="227490"/>
              </a:moveTo>
              <a:arcTo wR="1789422" hR="1789422" stAng="17952372" swAng="1213227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3F4C9A-D5A0-46DA-BA88-020B702E0EF2}">
      <dsp:nvSpPr>
        <dsp:cNvPr id="0" name=""/>
        <dsp:cNvSpPr/>
      </dsp:nvSpPr>
      <dsp:spPr>
        <a:xfrm>
          <a:off x="5111451" y="1237135"/>
          <a:ext cx="1376650" cy="8948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قراءة</a:t>
          </a:r>
          <a:r>
            <a:rPr lang="en-US" sz="1600" kern="1200" dirty="0"/>
            <a:t> </a:t>
          </a:r>
          <a:r>
            <a:rPr lang="en-US" sz="1600" kern="1200" dirty="0" err="1"/>
            <a:t>آية</a:t>
          </a:r>
          <a:r>
            <a:rPr lang="en-US" sz="1600" kern="1200" dirty="0"/>
            <a:t> </a:t>
          </a:r>
          <a:r>
            <a:rPr lang="en-US" sz="1600" kern="1200" dirty="0" err="1"/>
            <a:t>من</a:t>
          </a:r>
          <a:r>
            <a:rPr lang="en-US" sz="1600" kern="1200" dirty="0"/>
            <a:t> </a:t>
          </a:r>
          <a:r>
            <a:rPr lang="en-US" sz="1600" kern="1200" dirty="0" err="1"/>
            <a:t>الإنجيل</a:t>
          </a:r>
          <a:endParaRPr lang="en-US" sz="1600" kern="1200" dirty="0"/>
        </a:p>
      </dsp:txBody>
      <dsp:txXfrm>
        <a:off x="5155133" y="1280817"/>
        <a:ext cx="1289286" cy="807458"/>
      </dsp:txXfrm>
    </dsp:sp>
    <dsp:sp modelId="{434D207D-3C9D-4252-9E71-AFC47EC849F7}">
      <dsp:nvSpPr>
        <dsp:cNvPr id="0" name=""/>
        <dsp:cNvSpPr/>
      </dsp:nvSpPr>
      <dsp:spPr>
        <a:xfrm>
          <a:off x="2308513" y="448086"/>
          <a:ext cx="3578844" cy="3578844"/>
        </a:xfrm>
        <a:custGeom>
          <a:avLst/>
          <a:gdLst/>
          <a:ahLst/>
          <a:cxnLst/>
          <a:rect l="0" t="0" r="0" b="0"/>
          <a:pathLst>
            <a:path>
              <a:moveTo>
                <a:pt x="3574571" y="1913003"/>
              </a:moveTo>
              <a:arcTo wR="1789422" hR="1789422" stAng="21837607" swAng="1361032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91FFFA-29AF-4A30-AE3C-47011006AE50}">
      <dsp:nvSpPr>
        <dsp:cNvPr id="0" name=""/>
        <dsp:cNvSpPr/>
      </dsp:nvSpPr>
      <dsp:spPr>
        <a:xfrm>
          <a:off x="4461406" y="3237770"/>
          <a:ext cx="1376650" cy="8948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حضور</a:t>
          </a:r>
          <a:r>
            <a:rPr lang="en-US" sz="1600" kern="1200" dirty="0"/>
            <a:t> </a:t>
          </a:r>
          <a:r>
            <a:rPr lang="en-US" sz="1600" kern="1200" dirty="0" err="1"/>
            <a:t>القداس</a:t>
          </a:r>
          <a:endParaRPr lang="en-US" sz="1600" kern="1200" dirty="0"/>
        </a:p>
      </dsp:txBody>
      <dsp:txXfrm>
        <a:off x="4505088" y="3281452"/>
        <a:ext cx="1289286" cy="807458"/>
      </dsp:txXfrm>
    </dsp:sp>
    <dsp:sp modelId="{E2404D9D-6486-45C5-91E7-64BBB828BF90}">
      <dsp:nvSpPr>
        <dsp:cNvPr id="0" name=""/>
        <dsp:cNvSpPr/>
      </dsp:nvSpPr>
      <dsp:spPr>
        <a:xfrm>
          <a:off x="2308513" y="448086"/>
          <a:ext cx="3578844" cy="3578844"/>
        </a:xfrm>
        <a:custGeom>
          <a:avLst/>
          <a:gdLst/>
          <a:ahLst/>
          <a:cxnLst/>
          <a:rect l="0" t="0" r="0" b="0"/>
          <a:pathLst>
            <a:path>
              <a:moveTo>
                <a:pt x="2009493" y="3565260"/>
              </a:moveTo>
              <a:arcTo wR="1789422" hR="1789422" stAng="4976138" swAng="847724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ACF1D3-CDDA-4AFB-9361-EBE18D580EE1}">
      <dsp:nvSpPr>
        <dsp:cNvPr id="0" name=""/>
        <dsp:cNvSpPr/>
      </dsp:nvSpPr>
      <dsp:spPr>
        <a:xfrm>
          <a:off x="2357814" y="3237770"/>
          <a:ext cx="1376650" cy="8948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الثقة</a:t>
          </a:r>
          <a:r>
            <a:rPr lang="en-US" sz="1600" kern="1200" dirty="0"/>
            <a:t> </a:t>
          </a:r>
          <a:r>
            <a:rPr lang="en-US" sz="1600" kern="1200" dirty="0" err="1"/>
            <a:t>بأن</a:t>
          </a:r>
          <a:r>
            <a:rPr lang="en-US" sz="1600" kern="1200" dirty="0"/>
            <a:t> </a:t>
          </a:r>
          <a:r>
            <a:rPr lang="en-US" sz="1600" kern="1200" dirty="0" err="1"/>
            <a:t>الله</a:t>
          </a:r>
          <a:r>
            <a:rPr lang="en-US" sz="1600" kern="1200" dirty="0"/>
            <a:t> </a:t>
          </a:r>
          <a:r>
            <a:rPr lang="en-US" sz="1600" kern="1200" dirty="0" err="1"/>
            <a:t>معنا</a:t>
          </a:r>
          <a:r>
            <a:rPr lang="en-US" sz="1600" kern="1200" dirty="0"/>
            <a:t> </a:t>
          </a:r>
          <a:r>
            <a:rPr lang="en-US" sz="1600" kern="1200" dirty="0" err="1"/>
            <a:t>دائماً</a:t>
          </a:r>
          <a:endParaRPr lang="en-US" sz="1600" kern="1200" dirty="0"/>
        </a:p>
      </dsp:txBody>
      <dsp:txXfrm>
        <a:off x="2401496" y="3281452"/>
        <a:ext cx="1289286" cy="807458"/>
      </dsp:txXfrm>
    </dsp:sp>
    <dsp:sp modelId="{87ADDAC4-05A3-40AC-8ECF-E637C819250B}">
      <dsp:nvSpPr>
        <dsp:cNvPr id="0" name=""/>
        <dsp:cNvSpPr/>
      </dsp:nvSpPr>
      <dsp:spPr>
        <a:xfrm>
          <a:off x="2308513" y="448086"/>
          <a:ext cx="3578844" cy="3578844"/>
        </a:xfrm>
        <a:custGeom>
          <a:avLst/>
          <a:gdLst/>
          <a:ahLst/>
          <a:cxnLst/>
          <a:rect l="0" t="0" r="0" b="0"/>
          <a:pathLst>
            <a:path>
              <a:moveTo>
                <a:pt x="190018" y="2591880"/>
              </a:moveTo>
              <a:arcTo wR="1789422" hR="1789422" stAng="9201361" swAng="1361032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2D9E6B-819C-4252-A8CC-E00389ADAFA5}">
      <dsp:nvSpPr>
        <dsp:cNvPr id="0" name=""/>
        <dsp:cNvSpPr/>
      </dsp:nvSpPr>
      <dsp:spPr>
        <a:xfrm>
          <a:off x="1707768" y="1237135"/>
          <a:ext cx="1376650" cy="8948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عمل</a:t>
          </a:r>
          <a:r>
            <a:rPr lang="en-US" sz="1600" kern="1200" dirty="0"/>
            <a:t> </a:t>
          </a:r>
          <a:r>
            <a:rPr lang="en-US" sz="1600" kern="1200" dirty="0" err="1"/>
            <a:t>الخير</a:t>
          </a:r>
          <a:r>
            <a:rPr lang="en-US" sz="1600" kern="1200" dirty="0"/>
            <a:t> </a:t>
          </a:r>
          <a:r>
            <a:rPr lang="en-US" sz="1600" kern="1200" dirty="0" err="1"/>
            <a:t>ومساعدة</a:t>
          </a:r>
          <a:r>
            <a:rPr lang="en-US" sz="1600" kern="1200" dirty="0"/>
            <a:t> </a:t>
          </a:r>
          <a:r>
            <a:rPr lang="en-US" sz="1600" kern="1200" dirty="0" err="1"/>
            <a:t>الآخرين</a:t>
          </a:r>
          <a:endParaRPr lang="en-US" sz="1600" kern="1200" dirty="0"/>
        </a:p>
      </dsp:txBody>
      <dsp:txXfrm>
        <a:off x="1751450" y="1280817"/>
        <a:ext cx="1289286" cy="807458"/>
      </dsp:txXfrm>
    </dsp:sp>
    <dsp:sp modelId="{D26FF1F5-B2E6-413C-886D-2A1BAE413E22}">
      <dsp:nvSpPr>
        <dsp:cNvPr id="0" name=""/>
        <dsp:cNvSpPr/>
      </dsp:nvSpPr>
      <dsp:spPr>
        <a:xfrm>
          <a:off x="2308513" y="448086"/>
          <a:ext cx="3578844" cy="3578844"/>
        </a:xfrm>
        <a:custGeom>
          <a:avLst/>
          <a:gdLst/>
          <a:ahLst/>
          <a:cxnLst/>
          <a:rect l="0" t="0" r="0" b="0"/>
          <a:pathLst>
            <a:path>
              <a:moveTo>
                <a:pt x="430223" y="625544"/>
              </a:moveTo>
              <a:arcTo wR="1789422" hR="1789422" stAng="13234401" swAng="1213227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ECE6B3-4019-4488-91EA-90971DA67A80}">
      <dsp:nvSpPr>
        <dsp:cNvPr id="0" name=""/>
        <dsp:cNvSpPr/>
      </dsp:nvSpPr>
      <dsp:spPr>
        <a:xfrm>
          <a:off x="0" y="36024"/>
          <a:ext cx="5175384" cy="26773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r" defTabSz="1689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في</a:t>
          </a:r>
          <a:r>
            <a:rPr lang="en-US" sz="3800" kern="1200" dirty="0"/>
            <a:t> </a:t>
          </a:r>
          <a:r>
            <a:rPr lang="en-US" sz="3800" kern="1200" dirty="0" err="1"/>
            <a:t>يوم</a:t>
          </a:r>
          <a:r>
            <a:rPr lang="en-US" sz="3800" kern="1200" dirty="0"/>
            <a:t> </a:t>
          </a:r>
          <a:r>
            <a:rPr lang="en-US" sz="3800" kern="1200" dirty="0" err="1"/>
            <a:t>امتحان</a:t>
          </a:r>
          <a:r>
            <a:rPr lang="en-US" sz="3800" kern="1200" dirty="0"/>
            <a:t> </a:t>
          </a:r>
          <a:r>
            <a:rPr lang="en-US" sz="3800" kern="1200" dirty="0" err="1"/>
            <a:t>صعب</a:t>
          </a:r>
          <a:r>
            <a:rPr lang="en-US" sz="3800" kern="1200" dirty="0"/>
            <a:t> </a:t>
          </a:r>
          <a:r>
            <a:rPr lang="en-US" sz="3800" kern="1200" dirty="0" err="1"/>
            <a:t>شعرت</a:t>
          </a:r>
          <a:r>
            <a:rPr lang="en-US" sz="3800" kern="1200" dirty="0"/>
            <a:t> </a:t>
          </a:r>
          <a:r>
            <a:rPr lang="en-US" sz="3800" kern="1200" dirty="0" err="1"/>
            <a:t>بالخوف</a:t>
          </a:r>
          <a:r>
            <a:rPr lang="en-US" sz="3800" kern="1200" dirty="0"/>
            <a:t>، </a:t>
          </a:r>
          <a:r>
            <a:rPr lang="en-US" sz="3800" kern="1200" dirty="0" err="1"/>
            <a:t>لكنّي</a:t>
          </a:r>
          <a:r>
            <a:rPr lang="en-US" sz="3800" kern="1200" dirty="0"/>
            <a:t> </a:t>
          </a:r>
          <a:r>
            <a:rPr lang="en-US" sz="3800" kern="1200" dirty="0" err="1"/>
            <a:t>صلّيت</a:t>
          </a:r>
          <a:r>
            <a:rPr lang="en-US" sz="3800" kern="1200" dirty="0"/>
            <a:t> </a:t>
          </a:r>
          <a:r>
            <a:rPr lang="en-US" sz="3800" kern="1200" dirty="0" err="1"/>
            <a:t>وطلبت</a:t>
          </a:r>
          <a:r>
            <a:rPr lang="en-US" sz="3800" kern="1200" dirty="0"/>
            <a:t> </a:t>
          </a:r>
          <a:r>
            <a:rPr lang="en-US" sz="3800" kern="1200" dirty="0" err="1"/>
            <a:t>من</a:t>
          </a:r>
          <a:r>
            <a:rPr lang="en-US" sz="3800" kern="1200" dirty="0"/>
            <a:t> </a:t>
          </a:r>
          <a:r>
            <a:rPr lang="en-US" sz="3800" kern="1200" dirty="0" err="1"/>
            <a:t>الله</a:t>
          </a:r>
          <a:r>
            <a:rPr lang="en-US" sz="3800" kern="1200" dirty="0"/>
            <a:t> </a:t>
          </a:r>
          <a:r>
            <a:rPr lang="en-US" sz="3800" kern="1200" dirty="0" err="1"/>
            <a:t>السلام</a:t>
          </a:r>
          <a:r>
            <a:rPr lang="en-US" sz="3800" kern="1200" dirty="0"/>
            <a:t>.</a:t>
          </a:r>
        </a:p>
      </dsp:txBody>
      <dsp:txXfrm>
        <a:off x="130696" y="166720"/>
        <a:ext cx="4913992" cy="2415933"/>
      </dsp:txXfrm>
    </dsp:sp>
    <dsp:sp modelId="{173C461C-C94D-4FCE-888A-4622799FBC64}">
      <dsp:nvSpPr>
        <dsp:cNvPr id="0" name=""/>
        <dsp:cNvSpPr/>
      </dsp:nvSpPr>
      <dsp:spPr>
        <a:xfrm>
          <a:off x="0" y="2822790"/>
          <a:ext cx="5175384" cy="2677325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r" defTabSz="1689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درست</a:t>
          </a:r>
          <a:r>
            <a:rPr lang="en-US" sz="3800" kern="1200" dirty="0"/>
            <a:t> </a:t>
          </a:r>
          <a:r>
            <a:rPr lang="en-US" sz="3800" kern="1200" dirty="0" err="1"/>
            <a:t>بجد</a:t>
          </a:r>
          <a:r>
            <a:rPr lang="en-US" sz="3800" kern="1200" dirty="0"/>
            <a:t> </a:t>
          </a:r>
          <a:r>
            <a:rPr lang="en-US" sz="3800" kern="1200" dirty="0" err="1"/>
            <a:t>ودخلت</a:t>
          </a:r>
          <a:r>
            <a:rPr lang="en-US" sz="3800" kern="1200" dirty="0"/>
            <a:t> </a:t>
          </a:r>
          <a:r>
            <a:rPr lang="en-US" sz="3800" kern="1200" dirty="0" err="1"/>
            <a:t>الامتحان</a:t>
          </a:r>
          <a:r>
            <a:rPr lang="en-US" sz="3800" kern="1200" dirty="0"/>
            <a:t> </a:t>
          </a:r>
          <a:r>
            <a:rPr lang="en-US" sz="3800" kern="1200" dirty="0" err="1"/>
            <a:t>بثقة</a:t>
          </a:r>
          <a:r>
            <a:rPr lang="en-US" sz="3800" kern="1200" dirty="0"/>
            <a:t>، </a:t>
          </a:r>
          <a:r>
            <a:rPr lang="en-US" sz="3800" kern="1200" dirty="0" err="1"/>
            <a:t>وبالفعل</a:t>
          </a:r>
          <a:r>
            <a:rPr lang="en-US" sz="3800" kern="1200" dirty="0"/>
            <a:t> </a:t>
          </a:r>
          <a:r>
            <a:rPr lang="en-US" sz="3800" kern="1200" dirty="0" err="1"/>
            <a:t>نجحت</a:t>
          </a:r>
          <a:r>
            <a:rPr lang="en-US" sz="3800" kern="1200" dirty="0"/>
            <a:t> </a:t>
          </a:r>
          <a:r>
            <a:rPr lang="en-US" sz="3800" kern="1200" dirty="0" err="1"/>
            <a:t>وشعرت</a:t>
          </a:r>
          <a:r>
            <a:rPr lang="en-US" sz="3800" kern="1200" dirty="0"/>
            <a:t> </a:t>
          </a:r>
          <a:r>
            <a:rPr lang="en-US" sz="3800" kern="1200" dirty="0" err="1"/>
            <a:t>أن</a:t>
          </a:r>
          <a:r>
            <a:rPr lang="en-US" sz="3800" kern="1200" dirty="0"/>
            <a:t> </a:t>
          </a:r>
          <a:r>
            <a:rPr lang="en-US" sz="3800" kern="1200" dirty="0" err="1"/>
            <a:t>الإيمان</a:t>
          </a:r>
          <a:r>
            <a:rPr lang="en-US" sz="3800" kern="1200" dirty="0"/>
            <a:t> </a:t>
          </a:r>
          <a:r>
            <a:rPr lang="en-US" sz="3800" kern="1200" dirty="0" err="1"/>
            <a:t>أعطاني</a:t>
          </a:r>
          <a:r>
            <a:rPr lang="en-US" sz="3800" kern="1200" dirty="0"/>
            <a:t> </a:t>
          </a:r>
          <a:r>
            <a:rPr lang="en-US" sz="3800" kern="1200" dirty="0" err="1"/>
            <a:t>قوة</a:t>
          </a:r>
          <a:r>
            <a:rPr lang="en-US" sz="3800" kern="1200" dirty="0"/>
            <a:t> </a:t>
          </a:r>
          <a:r>
            <a:rPr lang="en-US" sz="3800" kern="1200" dirty="0" err="1"/>
            <a:t>وشجاعة</a:t>
          </a:r>
          <a:r>
            <a:rPr lang="en-US" sz="3800" kern="1200" dirty="0"/>
            <a:t>.</a:t>
          </a:r>
        </a:p>
      </dsp:txBody>
      <dsp:txXfrm>
        <a:off x="130696" y="2953486"/>
        <a:ext cx="4913992" cy="24159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1761202-B8BC-7310-D2D0-3CD54B96B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1779189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1.emf"/><Relationship Id="rId9" Type="http://schemas.microsoft.com/office/2007/relationships/diagramDrawing" Target="../diagrams/drawin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image" Target="../media/image1.emf"/><Relationship Id="rId9" Type="http://schemas.microsoft.com/office/2007/relationships/diagramDrawing" Target="../diagrams/drawin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31AEAD6-48BF-1703-88CC-839B2924B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1911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4E1BEB12-92AF-4445-98AD-4C7756E7C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86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0522C2C-7B5C-48A7-A969-03941E5D2E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077109" y="220198"/>
            <a:ext cx="7066893" cy="6637807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EE29F2-D77F-4BD0-A20B-334D316A1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57351" y="2099699"/>
            <a:ext cx="1456680" cy="188955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22D09ED2-868F-42C6-866E-F92E0CEF3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520172">
            <a:off x="836386" y="1866059"/>
            <a:ext cx="2987899" cy="2240924"/>
          </a:xfrm>
          <a:prstGeom prst="arc">
            <a:avLst>
              <a:gd name="adj1" fmla="val 14455503"/>
              <a:gd name="adj2" fmla="val 227775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488" y="2690614"/>
            <a:ext cx="5733471" cy="275108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 defTabSz="914377">
              <a:lnSpc>
                <a:spcPct val="90000"/>
              </a:lnSpc>
              <a:defRPr>
                <a:solidFill>
                  <a:srgbClr val="000000"/>
                </a:solidFill>
                <a:latin typeface="Arial"/>
              </a:defRPr>
            </a:pPr>
            <a:r>
              <a:rPr lang="en-US" sz="6000" dirty="0" err="1"/>
              <a:t>القديسة</a:t>
            </a:r>
            <a:r>
              <a:rPr lang="en-US" sz="6000" dirty="0"/>
              <a:t> </a:t>
            </a:r>
            <a:r>
              <a:rPr lang="en-US" sz="6000" dirty="0" err="1"/>
              <a:t>ماري</a:t>
            </a:r>
            <a:r>
              <a:rPr lang="en-US" sz="6000" dirty="0"/>
              <a:t> </a:t>
            </a:r>
            <a:r>
              <a:rPr lang="en-US" sz="6000" dirty="0" err="1"/>
              <a:t>الفونسين</a:t>
            </a:r>
            <a:r>
              <a:rPr lang="en-US" sz="6000" dirty="0"/>
              <a:t> </a:t>
            </a:r>
            <a:r>
              <a:rPr lang="en-US" sz="6000" dirty="0" err="1"/>
              <a:t>وفضيلة</a:t>
            </a:r>
            <a:r>
              <a:rPr lang="en-US" sz="6000" dirty="0"/>
              <a:t> </a:t>
            </a:r>
            <a:r>
              <a:rPr lang="en-US" sz="6000" dirty="0" err="1"/>
              <a:t>الإيمان</a:t>
            </a:r>
            <a:endParaRPr lang="en-US" sz="6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D3D060-24C4-0EDE-2484-A70795CE86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8854" y="1009042"/>
            <a:ext cx="1816765" cy="253005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A1E3DF-EA28-EEC3-64A5-AAE383EBF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36950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5DB3719-6FDC-4E5D-891D-FF40B730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0067" y="365130"/>
            <a:ext cx="4765284" cy="1325563"/>
          </a:xfrm>
        </p:spPr>
        <p:txBody>
          <a:bodyPr vert="horz">
            <a:normAutofit fontScale="90000"/>
          </a:bodyPr>
          <a:lstStyle/>
          <a:p>
            <a:pPr>
              <a:defRPr>
                <a:solidFill>
                  <a:srgbClr val="000000"/>
                </a:solidFill>
                <a:latin typeface="Arial"/>
              </a:defRPr>
            </a:pPr>
            <a:r>
              <a:rPr lang="ar-JO" sz="4700" dirty="0"/>
              <a:t>من هي القديسة ماري الفونسين؟</a:t>
            </a: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E0CBAC23-2E3F-4A90-BA59-F8299F6A54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51" y="1865313"/>
            <a:ext cx="7818120" cy="18288"/>
          </a:xfrm>
          <a:custGeom>
            <a:avLst/>
            <a:gdLst>
              <a:gd name="connsiteX0" fmla="*/ 0 w 7818120"/>
              <a:gd name="connsiteY0" fmla="*/ 0 h 18288"/>
              <a:gd name="connsiteX1" fmla="*/ 416966 w 7818120"/>
              <a:gd name="connsiteY1" fmla="*/ 0 h 18288"/>
              <a:gd name="connsiteX2" fmla="*/ 1146658 w 7818120"/>
              <a:gd name="connsiteY2" fmla="*/ 0 h 18288"/>
              <a:gd name="connsiteX3" fmla="*/ 1563624 w 7818120"/>
              <a:gd name="connsiteY3" fmla="*/ 0 h 18288"/>
              <a:gd name="connsiteX4" fmla="*/ 2136953 w 7818120"/>
              <a:gd name="connsiteY4" fmla="*/ 0 h 18288"/>
              <a:gd name="connsiteX5" fmla="*/ 2944825 w 7818120"/>
              <a:gd name="connsiteY5" fmla="*/ 0 h 18288"/>
              <a:gd name="connsiteX6" fmla="*/ 3596335 w 7818120"/>
              <a:gd name="connsiteY6" fmla="*/ 0 h 18288"/>
              <a:gd name="connsiteX7" fmla="*/ 4326026 w 7818120"/>
              <a:gd name="connsiteY7" fmla="*/ 0 h 18288"/>
              <a:gd name="connsiteX8" fmla="*/ 4899355 w 7818120"/>
              <a:gd name="connsiteY8" fmla="*/ 0 h 18288"/>
              <a:gd name="connsiteX9" fmla="*/ 5550865 w 7818120"/>
              <a:gd name="connsiteY9" fmla="*/ 0 h 18288"/>
              <a:gd name="connsiteX10" fmla="*/ 6358738 w 7818120"/>
              <a:gd name="connsiteY10" fmla="*/ 0 h 18288"/>
              <a:gd name="connsiteX11" fmla="*/ 6853885 w 7818120"/>
              <a:gd name="connsiteY11" fmla="*/ 0 h 18288"/>
              <a:gd name="connsiteX12" fmla="*/ 7818120 w 7818120"/>
              <a:gd name="connsiteY12" fmla="*/ 0 h 18288"/>
              <a:gd name="connsiteX13" fmla="*/ 7818120 w 7818120"/>
              <a:gd name="connsiteY13" fmla="*/ 18288 h 18288"/>
              <a:gd name="connsiteX14" fmla="*/ 7244791 w 7818120"/>
              <a:gd name="connsiteY14" fmla="*/ 18288 h 18288"/>
              <a:gd name="connsiteX15" fmla="*/ 6827825 w 7818120"/>
              <a:gd name="connsiteY15" fmla="*/ 18288 h 18288"/>
              <a:gd name="connsiteX16" fmla="*/ 6176315 w 7818120"/>
              <a:gd name="connsiteY16" fmla="*/ 18288 h 18288"/>
              <a:gd name="connsiteX17" fmla="*/ 5681167 w 7818120"/>
              <a:gd name="connsiteY17" fmla="*/ 18288 h 18288"/>
              <a:gd name="connsiteX18" fmla="*/ 5029657 w 7818120"/>
              <a:gd name="connsiteY18" fmla="*/ 18288 h 18288"/>
              <a:gd name="connsiteX19" fmla="*/ 4378147 w 7818120"/>
              <a:gd name="connsiteY19" fmla="*/ 18288 h 18288"/>
              <a:gd name="connsiteX20" fmla="*/ 3726637 w 7818120"/>
              <a:gd name="connsiteY20" fmla="*/ 18288 h 18288"/>
              <a:gd name="connsiteX21" fmla="*/ 3075127 w 7818120"/>
              <a:gd name="connsiteY21" fmla="*/ 18288 h 18288"/>
              <a:gd name="connsiteX22" fmla="*/ 2501798 w 7818120"/>
              <a:gd name="connsiteY22" fmla="*/ 18288 h 18288"/>
              <a:gd name="connsiteX23" fmla="*/ 1772107 w 7818120"/>
              <a:gd name="connsiteY23" fmla="*/ 18288 h 18288"/>
              <a:gd name="connsiteX24" fmla="*/ 1120597 w 7818120"/>
              <a:gd name="connsiteY24" fmla="*/ 18288 h 18288"/>
              <a:gd name="connsiteX25" fmla="*/ 0 w 7818120"/>
              <a:gd name="connsiteY25" fmla="*/ 18288 h 18288"/>
              <a:gd name="connsiteX26" fmla="*/ 0 w 7818120"/>
              <a:gd name="connsiteY2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818120" h="18288" fill="none" extrusionOk="0">
                <a:moveTo>
                  <a:pt x="0" y="0"/>
                </a:moveTo>
                <a:cubicBezTo>
                  <a:pt x="121520" y="-12182"/>
                  <a:pt x="211324" y="18247"/>
                  <a:pt x="416966" y="0"/>
                </a:cubicBezTo>
                <a:cubicBezTo>
                  <a:pt x="622608" y="-18247"/>
                  <a:pt x="891241" y="-13744"/>
                  <a:pt x="1146658" y="0"/>
                </a:cubicBezTo>
                <a:cubicBezTo>
                  <a:pt x="1402075" y="13744"/>
                  <a:pt x="1378880" y="-8543"/>
                  <a:pt x="1563624" y="0"/>
                </a:cubicBezTo>
                <a:cubicBezTo>
                  <a:pt x="1748368" y="8543"/>
                  <a:pt x="1972300" y="7443"/>
                  <a:pt x="2136953" y="0"/>
                </a:cubicBezTo>
                <a:cubicBezTo>
                  <a:pt x="2301606" y="-7443"/>
                  <a:pt x="2679634" y="12382"/>
                  <a:pt x="2944825" y="0"/>
                </a:cubicBezTo>
                <a:cubicBezTo>
                  <a:pt x="3210016" y="-12382"/>
                  <a:pt x="3409232" y="17967"/>
                  <a:pt x="3596335" y="0"/>
                </a:cubicBezTo>
                <a:cubicBezTo>
                  <a:pt x="3783438" y="-17967"/>
                  <a:pt x="4002523" y="-28578"/>
                  <a:pt x="4326026" y="0"/>
                </a:cubicBezTo>
                <a:cubicBezTo>
                  <a:pt x="4649529" y="28578"/>
                  <a:pt x="4777384" y="-3624"/>
                  <a:pt x="4899355" y="0"/>
                </a:cubicBezTo>
                <a:cubicBezTo>
                  <a:pt x="5021326" y="3624"/>
                  <a:pt x="5317653" y="1281"/>
                  <a:pt x="5550865" y="0"/>
                </a:cubicBezTo>
                <a:cubicBezTo>
                  <a:pt x="5784077" y="-1281"/>
                  <a:pt x="6142956" y="-39637"/>
                  <a:pt x="6358738" y="0"/>
                </a:cubicBezTo>
                <a:cubicBezTo>
                  <a:pt x="6574520" y="39637"/>
                  <a:pt x="6724785" y="-4460"/>
                  <a:pt x="6853885" y="0"/>
                </a:cubicBezTo>
                <a:cubicBezTo>
                  <a:pt x="6982985" y="4460"/>
                  <a:pt x="7403044" y="-1955"/>
                  <a:pt x="7818120" y="0"/>
                </a:cubicBezTo>
                <a:cubicBezTo>
                  <a:pt x="7817988" y="7702"/>
                  <a:pt x="7817908" y="13511"/>
                  <a:pt x="7818120" y="18288"/>
                </a:cubicBezTo>
                <a:cubicBezTo>
                  <a:pt x="7698847" y="-3267"/>
                  <a:pt x="7390924" y="22979"/>
                  <a:pt x="7244791" y="18288"/>
                </a:cubicBezTo>
                <a:cubicBezTo>
                  <a:pt x="7098658" y="13597"/>
                  <a:pt x="6952735" y="29357"/>
                  <a:pt x="6827825" y="18288"/>
                </a:cubicBezTo>
                <a:cubicBezTo>
                  <a:pt x="6702915" y="7219"/>
                  <a:pt x="6338661" y="34530"/>
                  <a:pt x="6176315" y="18288"/>
                </a:cubicBezTo>
                <a:cubicBezTo>
                  <a:pt x="6013969" y="2047"/>
                  <a:pt x="5850602" y="6362"/>
                  <a:pt x="5681167" y="18288"/>
                </a:cubicBezTo>
                <a:cubicBezTo>
                  <a:pt x="5511732" y="30214"/>
                  <a:pt x="5312143" y="419"/>
                  <a:pt x="5029657" y="18288"/>
                </a:cubicBezTo>
                <a:cubicBezTo>
                  <a:pt x="4747171" y="36158"/>
                  <a:pt x="4655062" y="30740"/>
                  <a:pt x="4378147" y="18288"/>
                </a:cubicBezTo>
                <a:cubicBezTo>
                  <a:pt x="4101232" y="5837"/>
                  <a:pt x="4037646" y="44706"/>
                  <a:pt x="3726637" y="18288"/>
                </a:cubicBezTo>
                <a:cubicBezTo>
                  <a:pt x="3415628" y="-8130"/>
                  <a:pt x="3321756" y="45507"/>
                  <a:pt x="3075127" y="18288"/>
                </a:cubicBezTo>
                <a:cubicBezTo>
                  <a:pt x="2828498" y="-8931"/>
                  <a:pt x="2684733" y="14853"/>
                  <a:pt x="2501798" y="18288"/>
                </a:cubicBezTo>
                <a:cubicBezTo>
                  <a:pt x="2318863" y="21723"/>
                  <a:pt x="2121844" y="-13013"/>
                  <a:pt x="1772107" y="18288"/>
                </a:cubicBezTo>
                <a:cubicBezTo>
                  <a:pt x="1422370" y="49589"/>
                  <a:pt x="1431548" y="31666"/>
                  <a:pt x="1120597" y="18288"/>
                </a:cubicBezTo>
                <a:cubicBezTo>
                  <a:pt x="809646" y="4911"/>
                  <a:pt x="246393" y="56240"/>
                  <a:pt x="0" y="18288"/>
                </a:cubicBezTo>
                <a:cubicBezTo>
                  <a:pt x="129" y="13298"/>
                  <a:pt x="-675" y="6857"/>
                  <a:pt x="0" y="0"/>
                </a:cubicBezTo>
                <a:close/>
              </a:path>
              <a:path w="7818120" h="18288" stroke="0" extrusionOk="0">
                <a:moveTo>
                  <a:pt x="0" y="0"/>
                </a:moveTo>
                <a:cubicBezTo>
                  <a:pt x="177487" y="-4302"/>
                  <a:pt x="287499" y="4997"/>
                  <a:pt x="573329" y="0"/>
                </a:cubicBezTo>
                <a:cubicBezTo>
                  <a:pt x="859159" y="-4997"/>
                  <a:pt x="821965" y="-336"/>
                  <a:pt x="990295" y="0"/>
                </a:cubicBezTo>
                <a:cubicBezTo>
                  <a:pt x="1158625" y="336"/>
                  <a:pt x="1587918" y="-4681"/>
                  <a:pt x="1798168" y="0"/>
                </a:cubicBezTo>
                <a:cubicBezTo>
                  <a:pt x="2008418" y="4681"/>
                  <a:pt x="2088841" y="-2754"/>
                  <a:pt x="2371496" y="0"/>
                </a:cubicBezTo>
                <a:cubicBezTo>
                  <a:pt x="2654151" y="2754"/>
                  <a:pt x="2701462" y="-24976"/>
                  <a:pt x="2944825" y="0"/>
                </a:cubicBezTo>
                <a:cubicBezTo>
                  <a:pt x="3188188" y="24976"/>
                  <a:pt x="3511636" y="25407"/>
                  <a:pt x="3752698" y="0"/>
                </a:cubicBezTo>
                <a:cubicBezTo>
                  <a:pt x="3993760" y="-25407"/>
                  <a:pt x="4107153" y="6432"/>
                  <a:pt x="4247845" y="0"/>
                </a:cubicBezTo>
                <a:cubicBezTo>
                  <a:pt x="4388537" y="-6432"/>
                  <a:pt x="4835598" y="-5108"/>
                  <a:pt x="5055718" y="0"/>
                </a:cubicBezTo>
                <a:cubicBezTo>
                  <a:pt x="5275838" y="5108"/>
                  <a:pt x="5461006" y="-24536"/>
                  <a:pt x="5863590" y="0"/>
                </a:cubicBezTo>
                <a:cubicBezTo>
                  <a:pt x="6266174" y="24536"/>
                  <a:pt x="6355549" y="-19657"/>
                  <a:pt x="6515100" y="0"/>
                </a:cubicBezTo>
                <a:cubicBezTo>
                  <a:pt x="6674651" y="19657"/>
                  <a:pt x="7275423" y="-57462"/>
                  <a:pt x="7818120" y="0"/>
                </a:cubicBezTo>
                <a:cubicBezTo>
                  <a:pt x="7818132" y="8833"/>
                  <a:pt x="7818660" y="9830"/>
                  <a:pt x="7818120" y="18288"/>
                </a:cubicBezTo>
                <a:cubicBezTo>
                  <a:pt x="7610240" y="4606"/>
                  <a:pt x="7521789" y="7721"/>
                  <a:pt x="7401154" y="18288"/>
                </a:cubicBezTo>
                <a:cubicBezTo>
                  <a:pt x="7280519" y="28855"/>
                  <a:pt x="6930719" y="4225"/>
                  <a:pt x="6593281" y="18288"/>
                </a:cubicBezTo>
                <a:cubicBezTo>
                  <a:pt x="6255843" y="32351"/>
                  <a:pt x="6286682" y="1162"/>
                  <a:pt x="6098134" y="18288"/>
                </a:cubicBezTo>
                <a:cubicBezTo>
                  <a:pt x="5909586" y="35414"/>
                  <a:pt x="5602789" y="48596"/>
                  <a:pt x="5446624" y="18288"/>
                </a:cubicBezTo>
                <a:cubicBezTo>
                  <a:pt x="5290459" y="-12020"/>
                  <a:pt x="4917039" y="21960"/>
                  <a:pt x="4638751" y="18288"/>
                </a:cubicBezTo>
                <a:cubicBezTo>
                  <a:pt x="4360463" y="14616"/>
                  <a:pt x="4304690" y="5450"/>
                  <a:pt x="3987241" y="18288"/>
                </a:cubicBezTo>
                <a:cubicBezTo>
                  <a:pt x="3669792" y="31127"/>
                  <a:pt x="3758742" y="32551"/>
                  <a:pt x="3570275" y="18288"/>
                </a:cubicBezTo>
                <a:cubicBezTo>
                  <a:pt x="3381808" y="4025"/>
                  <a:pt x="3267153" y="36200"/>
                  <a:pt x="3075127" y="18288"/>
                </a:cubicBezTo>
                <a:cubicBezTo>
                  <a:pt x="2883101" y="376"/>
                  <a:pt x="2665825" y="10973"/>
                  <a:pt x="2267255" y="18288"/>
                </a:cubicBezTo>
                <a:cubicBezTo>
                  <a:pt x="1868685" y="25603"/>
                  <a:pt x="1884698" y="28410"/>
                  <a:pt x="1615745" y="18288"/>
                </a:cubicBezTo>
                <a:cubicBezTo>
                  <a:pt x="1346792" y="8167"/>
                  <a:pt x="1320952" y="10430"/>
                  <a:pt x="1120597" y="18288"/>
                </a:cubicBezTo>
                <a:cubicBezTo>
                  <a:pt x="920242" y="26146"/>
                  <a:pt x="556507" y="50790"/>
                  <a:pt x="0" y="18288"/>
                </a:cubicBezTo>
                <a:cubicBezTo>
                  <a:pt x="74" y="14054"/>
                  <a:pt x="-46" y="699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4F31A9FC-3E30-052D-438E-375CFB0C61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1148580"/>
              </p:ext>
            </p:extLst>
          </p:nvPr>
        </p:nvGraphicFramePr>
        <p:xfrm>
          <a:off x="628651" y="2228087"/>
          <a:ext cx="7886700" cy="394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6E8032-ECE3-00CE-5CA8-9FACCB474C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3996" y="105371"/>
            <a:ext cx="2106202" cy="158532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8D2CE5-3873-340A-9B23-82C628BB7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12117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5DB3719-6FDC-4E5D-891D-FF40B730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65130"/>
            <a:ext cx="7886700" cy="1325563"/>
          </a:xfrm>
        </p:spPr>
        <p:txBody>
          <a:bodyPr vert="horz">
            <a:normAutofit/>
          </a:bodyPr>
          <a:lstStyle/>
          <a:p>
            <a:pPr>
              <a:defRPr>
                <a:solidFill>
                  <a:srgbClr val="000000"/>
                </a:solidFill>
                <a:latin typeface="Arial"/>
              </a:defRPr>
            </a:pPr>
            <a:r>
              <a:rPr lang="ar-JO" sz="4700"/>
              <a:t>معنى فضيلة الإيمان</a:t>
            </a: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E0CBAC23-2E3F-4A90-BA59-F8299F6A54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51" y="1865313"/>
            <a:ext cx="7818120" cy="18288"/>
          </a:xfrm>
          <a:custGeom>
            <a:avLst/>
            <a:gdLst>
              <a:gd name="connsiteX0" fmla="*/ 0 w 7818120"/>
              <a:gd name="connsiteY0" fmla="*/ 0 h 18288"/>
              <a:gd name="connsiteX1" fmla="*/ 416966 w 7818120"/>
              <a:gd name="connsiteY1" fmla="*/ 0 h 18288"/>
              <a:gd name="connsiteX2" fmla="*/ 1146658 w 7818120"/>
              <a:gd name="connsiteY2" fmla="*/ 0 h 18288"/>
              <a:gd name="connsiteX3" fmla="*/ 1563624 w 7818120"/>
              <a:gd name="connsiteY3" fmla="*/ 0 h 18288"/>
              <a:gd name="connsiteX4" fmla="*/ 2136953 w 7818120"/>
              <a:gd name="connsiteY4" fmla="*/ 0 h 18288"/>
              <a:gd name="connsiteX5" fmla="*/ 2944825 w 7818120"/>
              <a:gd name="connsiteY5" fmla="*/ 0 h 18288"/>
              <a:gd name="connsiteX6" fmla="*/ 3596335 w 7818120"/>
              <a:gd name="connsiteY6" fmla="*/ 0 h 18288"/>
              <a:gd name="connsiteX7" fmla="*/ 4326026 w 7818120"/>
              <a:gd name="connsiteY7" fmla="*/ 0 h 18288"/>
              <a:gd name="connsiteX8" fmla="*/ 4899355 w 7818120"/>
              <a:gd name="connsiteY8" fmla="*/ 0 h 18288"/>
              <a:gd name="connsiteX9" fmla="*/ 5550865 w 7818120"/>
              <a:gd name="connsiteY9" fmla="*/ 0 h 18288"/>
              <a:gd name="connsiteX10" fmla="*/ 6358738 w 7818120"/>
              <a:gd name="connsiteY10" fmla="*/ 0 h 18288"/>
              <a:gd name="connsiteX11" fmla="*/ 6853885 w 7818120"/>
              <a:gd name="connsiteY11" fmla="*/ 0 h 18288"/>
              <a:gd name="connsiteX12" fmla="*/ 7818120 w 7818120"/>
              <a:gd name="connsiteY12" fmla="*/ 0 h 18288"/>
              <a:gd name="connsiteX13" fmla="*/ 7818120 w 7818120"/>
              <a:gd name="connsiteY13" fmla="*/ 18288 h 18288"/>
              <a:gd name="connsiteX14" fmla="*/ 7244791 w 7818120"/>
              <a:gd name="connsiteY14" fmla="*/ 18288 h 18288"/>
              <a:gd name="connsiteX15" fmla="*/ 6827825 w 7818120"/>
              <a:gd name="connsiteY15" fmla="*/ 18288 h 18288"/>
              <a:gd name="connsiteX16" fmla="*/ 6176315 w 7818120"/>
              <a:gd name="connsiteY16" fmla="*/ 18288 h 18288"/>
              <a:gd name="connsiteX17" fmla="*/ 5681167 w 7818120"/>
              <a:gd name="connsiteY17" fmla="*/ 18288 h 18288"/>
              <a:gd name="connsiteX18" fmla="*/ 5029657 w 7818120"/>
              <a:gd name="connsiteY18" fmla="*/ 18288 h 18288"/>
              <a:gd name="connsiteX19" fmla="*/ 4378147 w 7818120"/>
              <a:gd name="connsiteY19" fmla="*/ 18288 h 18288"/>
              <a:gd name="connsiteX20" fmla="*/ 3726637 w 7818120"/>
              <a:gd name="connsiteY20" fmla="*/ 18288 h 18288"/>
              <a:gd name="connsiteX21" fmla="*/ 3075127 w 7818120"/>
              <a:gd name="connsiteY21" fmla="*/ 18288 h 18288"/>
              <a:gd name="connsiteX22" fmla="*/ 2501798 w 7818120"/>
              <a:gd name="connsiteY22" fmla="*/ 18288 h 18288"/>
              <a:gd name="connsiteX23" fmla="*/ 1772107 w 7818120"/>
              <a:gd name="connsiteY23" fmla="*/ 18288 h 18288"/>
              <a:gd name="connsiteX24" fmla="*/ 1120597 w 7818120"/>
              <a:gd name="connsiteY24" fmla="*/ 18288 h 18288"/>
              <a:gd name="connsiteX25" fmla="*/ 0 w 7818120"/>
              <a:gd name="connsiteY25" fmla="*/ 18288 h 18288"/>
              <a:gd name="connsiteX26" fmla="*/ 0 w 7818120"/>
              <a:gd name="connsiteY2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818120" h="18288" fill="none" extrusionOk="0">
                <a:moveTo>
                  <a:pt x="0" y="0"/>
                </a:moveTo>
                <a:cubicBezTo>
                  <a:pt x="121520" y="-12182"/>
                  <a:pt x="211324" y="18247"/>
                  <a:pt x="416966" y="0"/>
                </a:cubicBezTo>
                <a:cubicBezTo>
                  <a:pt x="622608" y="-18247"/>
                  <a:pt x="891241" y="-13744"/>
                  <a:pt x="1146658" y="0"/>
                </a:cubicBezTo>
                <a:cubicBezTo>
                  <a:pt x="1402075" y="13744"/>
                  <a:pt x="1378880" y="-8543"/>
                  <a:pt x="1563624" y="0"/>
                </a:cubicBezTo>
                <a:cubicBezTo>
                  <a:pt x="1748368" y="8543"/>
                  <a:pt x="1972300" y="7443"/>
                  <a:pt x="2136953" y="0"/>
                </a:cubicBezTo>
                <a:cubicBezTo>
                  <a:pt x="2301606" y="-7443"/>
                  <a:pt x="2679634" y="12382"/>
                  <a:pt x="2944825" y="0"/>
                </a:cubicBezTo>
                <a:cubicBezTo>
                  <a:pt x="3210016" y="-12382"/>
                  <a:pt x="3409232" y="17967"/>
                  <a:pt x="3596335" y="0"/>
                </a:cubicBezTo>
                <a:cubicBezTo>
                  <a:pt x="3783438" y="-17967"/>
                  <a:pt x="4002523" y="-28578"/>
                  <a:pt x="4326026" y="0"/>
                </a:cubicBezTo>
                <a:cubicBezTo>
                  <a:pt x="4649529" y="28578"/>
                  <a:pt x="4777384" y="-3624"/>
                  <a:pt x="4899355" y="0"/>
                </a:cubicBezTo>
                <a:cubicBezTo>
                  <a:pt x="5021326" y="3624"/>
                  <a:pt x="5317653" y="1281"/>
                  <a:pt x="5550865" y="0"/>
                </a:cubicBezTo>
                <a:cubicBezTo>
                  <a:pt x="5784077" y="-1281"/>
                  <a:pt x="6142956" y="-39637"/>
                  <a:pt x="6358738" y="0"/>
                </a:cubicBezTo>
                <a:cubicBezTo>
                  <a:pt x="6574520" y="39637"/>
                  <a:pt x="6724785" y="-4460"/>
                  <a:pt x="6853885" y="0"/>
                </a:cubicBezTo>
                <a:cubicBezTo>
                  <a:pt x="6982985" y="4460"/>
                  <a:pt x="7403044" y="-1955"/>
                  <a:pt x="7818120" y="0"/>
                </a:cubicBezTo>
                <a:cubicBezTo>
                  <a:pt x="7817988" y="7702"/>
                  <a:pt x="7817908" y="13511"/>
                  <a:pt x="7818120" y="18288"/>
                </a:cubicBezTo>
                <a:cubicBezTo>
                  <a:pt x="7698847" y="-3267"/>
                  <a:pt x="7390924" y="22979"/>
                  <a:pt x="7244791" y="18288"/>
                </a:cubicBezTo>
                <a:cubicBezTo>
                  <a:pt x="7098658" y="13597"/>
                  <a:pt x="6952735" y="29357"/>
                  <a:pt x="6827825" y="18288"/>
                </a:cubicBezTo>
                <a:cubicBezTo>
                  <a:pt x="6702915" y="7219"/>
                  <a:pt x="6338661" y="34530"/>
                  <a:pt x="6176315" y="18288"/>
                </a:cubicBezTo>
                <a:cubicBezTo>
                  <a:pt x="6013969" y="2047"/>
                  <a:pt x="5850602" y="6362"/>
                  <a:pt x="5681167" y="18288"/>
                </a:cubicBezTo>
                <a:cubicBezTo>
                  <a:pt x="5511732" y="30214"/>
                  <a:pt x="5312143" y="419"/>
                  <a:pt x="5029657" y="18288"/>
                </a:cubicBezTo>
                <a:cubicBezTo>
                  <a:pt x="4747171" y="36158"/>
                  <a:pt x="4655062" y="30740"/>
                  <a:pt x="4378147" y="18288"/>
                </a:cubicBezTo>
                <a:cubicBezTo>
                  <a:pt x="4101232" y="5837"/>
                  <a:pt x="4037646" y="44706"/>
                  <a:pt x="3726637" y="18288"/>
                </a:cubicBezTo>
                <a:cubicBezTo>
                  <a:pt x="3415628" y="-8130"/>
                  <a:pt x="3321756" y="45507"/>
                  <a:pt x="3075127" y="18288"/>
                </a:cubicBezTo>
                <a:cubicBezTo>
                  <a:pt x="2828498" y="-8931"/>
                  <a:pt x="2684733" y="14853"/>
                  <a:pt x="2501798" y="18288"/>
                </a:cubicBezTo>
                <a:cubicBezTo>
                  <a:pt x="2318863" y="21723"/>
                  <a:pt x="2121844" y="-13013"/>
                  <a:pt x="1772107" y="18288"/>
                </a:cubicBezTo>
                <a:cubicBezTo>
                  <a:pt x="1422370" y="49589"/>
                  <a:pt x="1431548" y="31666"/>
                  <a:pt x="1120597" y="18288"/>
                </a:cubicBezTo>
                <a:cubicBezTo>
                  <a:pt x="809646" y="4911"/>
                  <a:pt x="246393" y="56240"/>
                  <a:pt x="0" y="18288"/>
                </a:cubicBezTo>
                <a:cubicBezTo>
                  <a:pt x="129" y="13298"/>
                  <a:pt x="-675" y="6857"/>
                  <a:pt x="0" y="0"/>
                </a:cubicBezTo>
                <a:close/>
              </a:path>
              <a:path w="7818120" h="18288" stroke="0" extrusionOk="0">
                <a:moveTo>
                  <a:pt x="0" y="0"/>
                </a:moveTo>
                <a:cubicBezTo>
                  <a:pt x="177487" y="-4302"/>
                  <a:pt x="287499" y="4997"/>
                  <a:pt x="573329" y="0"/>
                </a:cubicBezTo>
                <a:cubicBezTo>
                  <a:pt x="859159" y="-4997"/>
                  <a:pt x="821965" y="-336"/>
                  <a:pt x="990295" y="0"/>
                </a:cubicBezTo>
                <a:cubicBezTo>
                  <a:pt x="1158625" y="336"/>
                  <a:pt x="1587918" y="-4681"/>
                  <a:pt x="1798168" y="0"/>
                </a:cubicBezTo>
                <a:cubicBezTo>
                  <a:pt x="2008418" y="4681"/>
                  <a:pt x="2088841" y="-2754"/>
                  <a:pt x="2371496" y="0"/>
                </a:cubicBezTo>
                <a:cubicBezTo>
                  <a:pt x="2654151" y="2754"/>
                  <a:pt x="2701462" y="-24976"/>
                  <a:pt x="2944825" y="0"/>
                </a:cubicBezTo>
                <a:cubicBezTo>
                  <a:pt x="3188188" y="24976"/>
                  <a:pt x="3511636" y="25407"/>
                  <a:pt x="3752698" y="0"/>
                </a:cubicBezTo>
                <a:cubicBezTo>
                  <a:pt x="3993760" y="-25407"/>
                  <a:pt x="4107153" y="6432"/>
                  <a:pt x="4247845" y="0"/>
                </a:cubicBezTo>
                <a:cubicBezTo>
                  <a:pt x="4388537" y="-6432"/>
                  <a:pt x="4835598" y="-5108"/>
                  <a:pt x="5055718" y="0"/>
                </a:cubicBezTo>
                <a:cubicBezTo>
                  <a:pt x="5275838" y="5108"/>
                  <a:pt x="5461006" y="-24536"/>
                  <a:pt x="5863590" y="0"/>
                </a:cubicBezTo>
                <a:cubicBezTo>
                  <a:pt x="6266174" y="24536"/>
                  <a:pt x="6355549" y="-19657"/>
                  <a:pt x="6515100" y="0"/>
                </a:cubicBezTo>
                <a:cubicBezTo>
                  <a:pt x="6674651" y="19657"/>
                  <a:pt x="7275423" y="-57462"/>
                  <a:pt x="7818120" y="0"/>
                </a:cubicBezTo>
                <a:cubicBezTo>
                  <a:pt x="7818132" y="8833"/>
                  <a:pt x="7818660" y="9830"/>
                  <a:pt x="7818120" y="18288"/>
                </a:cubicBezTo>
                <a:cubicBezTo>
                  <a:pt x="7610240" y="4606"/>
                  <a:pt x="7521789" y="7721"/>
                  <a:pt x="7401154" y="18288"/>
                </a:cubicBezTo>
                <a:cubicBezTo>
                  <a:pt x="7280519" y="28855"/>
                  <a:pt x="6930719" y="4225"/>
                  <a:pt x="6593281" y="18288"/>
                </a:cubicBezTo>
                <a:cubicBezTo>
                  <a:pt x="6255843" y="32351"/>
                  <a:pt x="6286682" y="1162"/>
                  <a:pt x="6098134" y="18288"/>
                </a:cubicBezTo>
                <a:cubicBezTo>
                  <a:pt x="5909586" y="35414"/>
                  <a:pt x="5602789" y="48596"/>
                  <a:pt x="5446624" y="18288"/>
                </a:cubicBezTo>
                <a:cubicBezTo>
                  <a:pt x="5290459" y="-12020"/>
                  <a:pt x="4917039" y="21960"/>
                  <a:pt x="4638751" y="18288"/>
                </a:cubicBezTo>
                <a:cubicBezTo>
                  <a:pt x="4360463" y="14616"/>
                  <a:pt x="4304690" y="5450"/>
                  <a:pt x="3987241" y="18288"/>
                </a:cubicBezTo>
                <a:cubicBezTo>
                  <a:pt x="3669792" y="31127"/>
                  <a:pt x="3758742" y="32551"/>
                  <a:pt x="3570275" y="18288"/>
                </a:cubicBezTo>
                <a:cubicBezTo>
                  <a:pt x="3381808" y="4025"/>
                  <a:pt x="3267153" y="36200"/>
                  <a:pt x="3075127" y="18288"/>
                </a:cubicBezTo>
                <a:cubicBezTo>
                  <a:pt x="2883101" y="376"/>
                  <a:pt x="2665825" y="10973"/>
                  <a:pt x="2267255" y="18288"/>
                </a:cubicBezTo>
                <a:cubicBezTo>
                  <a:pt x="1868685" y="25603"/>
                  <a:pt x="1884698" y="28410"/>
                  <a:pt x="1615745" y="18288"/>
                </a:cubicBezTo>
                <a:cubicBezTo>
                  <a:pt x="1346792" y="8167"/>
                  <a:pt x="1320952" y="10430"/>
                  <a:pt x="1120597" y="18288"/>
                </a:cubicBezTo>
                <a:cubicBezTo>
                  <a:pt x="920242" y="26146"/>
                  <a:pt x="556507" y="50790"/>
                  <a:pt x="0" y="18288"/>
                </a:cubicBezTo>
                <a:cubicBezTo>
                  <a:pt x="74" y="14054"/>
                  <a:pt x="-46" y="699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FF9DE646-1811-91A0-4DF8-91888D1304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893211"/>
              </p:ext>
            </p:extLst>
          </p:nvPr>
        </p:nvGraphicFramePr>
        <p:xfrm>
          <a:off x="628651" y="2228087"/>
          <a:ext cx="7886700" cy="394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59015F-0611-F864-5DD8-5476976BA4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6743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5DB3719-6FDC-4E5D-891D-FF40B730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65130"/>
            <a:ext cx="7886700" cy="1325563"/>
          </a:xfrm>
        </p:spPr>
        <p:txBody>
          <a:bodyPr vert="horz">
            <a:normAutofit/>
          </a:bodyPr>
          <a:lstStyle/>
          <a:p>
            <a:pPr>
              <a:defRPr>
                <a:solidFill>
                  <a:srgbClr val="000000"/>
                </a:solidFill>
                <a:latin typeface="Arial"/>
              </a:defRPr>
            </a:pPr>
            <a:r>
              <a:rPr lang="ar-JO" sz="4300"/>
              <a:t>كيف عاشت القديسة ماري الفونسين الإيمان؟</a:t>
            </a: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E0CBAC23-2E3F-4A90-BA59-F8299F6A54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51" y="1865313"/>
            <a:ext cx="7818120" cy="18288"/>
          </a:xfrm>
          <a:custGeom>
            <a:avLst/>
            <a:gdLst>
              <a:gd name="connsiteX0" fmla="*/ 0 w 7818120"/>
              <a:gd name="connsiteY0" fmla="*/ 0 h 18288"/>
              <a:gd name="connsiteX1" fmla="*/ 416966 w 7818120"/>
              <a:gd name="connsiteY1" fmla="*/ 0 h 18288"/>
              <a:gd name="connsiteX2" fmla="*/ 1146658 w 7818120"/>
              <a:gd name="connsiteY2" fmla="*/ 0 h 18288"/>
              <a:gd name="connsiteX3" fmla="*/ 1563624 w 7818120"/>
              <a:gd name="connsiteY3" fmla="*/ 0 h 18288"/>
              <a:gd name="connsiteX4" fmla="*/ 2136953 w 7818120"/>
              <a:gd name="connsiteY4" fmla="*/ 0 h 18288"/>
              <a:gd name="connsiteX5" fmla="*/ 2944825 w 7818120"/>
              <a:gd name="connsiteY5" fmla="*/ 0 h 18288"/>
              <a:gd name="connsiteX6" fmla="*/ 3596335 w 7818120"/>
              <a:gd name="connsiteY6" fmla="*/ 0 h 18288"/>
              <a:gd name="connsiteX7" fmla="*/ 4326026 w 7818120"/>
              <a:gd name="connsiteY7" fmla="*/ 0 h 18288"/>
              <a:gd name="connsiteX8" fmla="*/ 4899355 w 7818120"/>
              <a:gd name="connsiteY8" fmla="*/ 0 h 18288"/>
              <a:gd name="connsiteX9" fmla="*/ 5550865 w 7818120"/>
              <a:gd name="connsiteY9" fmla="*/ 0 h 18288"/>
              <a:gd name="connsiteX10" fmla="*/ 6358738 w 7818120"/>
              <a:gd name="connsiteY10" fmla="*/ 0 h 18288"/>
              <a:gd name="connsiteX11" fmla="*/ 6853885 w 7818120"/>
              <a:gd name="connsiteY11" fmla="*/ 0 h 18288"/>
              <a:gd name="connsiteX12" fmla="*/ 7818120 w 7818120"/>
              <a:gd name="connsiteY12" fmla="*/ 0 h 18288"/>
              <a:gd name="connsiteX13" fmla="*/ 7818120 w 7818120"/>
              <a:gd name="connsiteY13" fmla="*/ 18288 h 18288"/>
              <a:gd name="connsiteX14" fmla="*/ 7244791 w 7818120"/>
              <a:gd name="connsiteY14" fmla="*/ 18288 h 18288"/>
              <a:gd name="connsiteX15" fmla="*/ 6827825 w 7818120"/>
              <a:gd name="connsiteY15" fmla="*/ 18288 h 18288"/>
              <a:gd name="connsiteX16" fmla="*/ 6176315 w 7818120"/>
              <a:gd name="connsiteY16" fmla="*/ 18288 h 18288"/>
              <a:gd name="connsiteX17" fmla="*/ 5681167 w 7818120"/>
              <a:gd name="connsiteY17" fmla="*/ 18288 h 18288"/>
              <a:gd name="connsiteX18" fmla="*/ 5029657 w 7818120"/>
              <a:gd name="connsiteY18" fmla="*/ 18288 h 18288"/>
              <a:gd name="connsiteX19" fmla="*/ 4378147 w 7818120"/>
              <a:gd name="connsiteY19" fmla="*/ 18288 h 18288"/>
              <a:gd name="connsiteX20" fmla="*/ 3726637 w 7818120"/>
              <a:gd name="connsiteY20" fmla="*/ 18288 h 18288"/>
              <a:gd name="connsiteX21" fmla="*/ 3075127 w 7818120"/>
              <a:gd name="connsiteY21" fmla="*/ 18288 h 18288"/>
              <a:gd name="connsiteX22" fmla="*/ 2501798 w 7818120"/>
              <a:gd name="connsiteY22" fmla="*/ 18288 h 18288"/>
              <a:gd name="connsiteX23" fmla="*/ 1772107 w 7818120"/>
              <a:gd name="connsiteY23" fmla="*/ 18288 h 18288"/>
              <a:gd name="connsiteX24" fmla="*/ 1120597 w 7818120"/>
              <a:gd name="connsiteY24" fmla="*/ 18288 h 18288"/>
              <a:gd name="connsiteX25" fmla="*/ 0 w 7818120"/>
              <a:gd name="connsiteY25" fmla="*/ 18288 h 18288"/>
              <a:gd name="connsiteX26" fmla="*/ 0 w 7818120"/>
              <a:gd name="connsiteY2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818120" h="18288" fill="none" extrusionOk="0">
                <a:moveTo>
                  <a:pt x="0" y="0"/>
                </a:moveTo>
                <a:cubicBezTo>
                  <a:pt x="121520" y="-12182"/>
                  <a:pt x="211324" y="18247"/>
                  <a:pt x="416966" y="0"/>
                </a:cubicBezTo>
                <a:cubicBezTo>
                  <a:pt x="622608" y="-18247"/>
                  <a:pt x="891241" y="-13744"/>
                  <a:pt x="1146658" y="0"/>
                </a:cubicBezTo>
                <a:cubicBezTo>
                  <a:pt x="1402075" y="13744"/>
                  <a:pt x="1378880" y="-8543"/>
                  <a:pt x="1563624" y="0"/>
                </a:cubicBezTo>
                <a:cubicBezTo>
                  <a:pt x="1748368" y="8543"/>
                  <a:pt x="1972300" y="7443"/>
                  <a:pt x="2136953" y="0"/>
                </a:cubicBezTo>
                <a:cubicBezTo>
                  <a:pt x="2301606" y="-7443"/>
                  <a:pt x="2679634" y="12382"/>
                  <a:pt x="2944825" y="0"/>
                </a:cubicBezTo>
                <a:cubicBezTo>
                  <a:pt x="3210016" y="-12382"/>
                  <a:pt x="3409232" y="17967"/>
                  <a:pt x="3596335" y="0"/>
                </a:cubicBezTo>
                <a:cubicBezTo>
                  <a:pt x="3783438" y="-17967"/>
                  <a:pt x="4002523" y="-28578"/>
                  <a:pt x="4326026" y="0"/>
                </a:cubicBezTo>
                <a:cubicBezTo>
                  <a:pt x="4649529" y="28578"/>
                  <a:pt x="4777384" y="-3624"/>
                  <a:pt x="4899355" y="0"/>
                </a:cubicBezTo>
                <a:cubicBezTo>
                  <a:pt x="5021326" y="3624"/>
                  <a:pt x="5317653" y="1281"/>
                  <a:pt x="5550865" y="0"/>
                </a:cubicBezTo>
                <a:cubicBezTo>
                  <a:pt x="5784077" y="-1281"/>
                  <a:pt x="6142956" y="-39637"/>
                  <a:pt x="6358738" y="0"/>
                </a:cubicBezTo>
                <a:cubicBezTo>
                  <a:pt x="6574520" y="39637"/>
                  <a:pt x="6724785" y="-4460"/>
                  <a:pt x="6853885" y="0"/>
                </a:cubicBezTo>
                <a:cubicBezTo>
                  <a:pt x="6982985" y="4460"/>
                  <a:pt x="7403044" y="-1955"/>
                  <a:pt x="7818120" y="0"/>
                </a:cubicBezTo>
                <a:cubicBezTo>
                  <a:pt x="7817988" y="7702"/>
                  <a:pt x="7817908" y="13511"/>
                  <a:pt x="7818120" y="18288"/>
                </a:cubicBezTo>
                <a:cubicBezTo>
                  <a:pt x="7698847" y="-3267"/>
                  <a:pt x="7390924" y="22979"/>
                  <a:pt x="7244791" y="18288"/>
                </a:cubicBezTo>
                <a:cubicBezTo>
                  <a:pt x="7098658" y="13597"/>
                  <a:pt x="6952735" y="29357"/>
                  <a:pt x="6827825" y="18288"/>
                </a:cubicBezTo>
                <a:cubicBezTo>
                  <a:pt x="6702915" y="7219"/>
                  <a:pt x="6338661" y="34530"/>
                  <a:pt x="6176315" y="18288"/>
                </a:cubicBezTo>
                <a:cubicBezTo>
                  <a:pt x="6013969" y="2047"/>
                  <a:pt x="5850602" y="6362"/>
                  <a:pt x="5681167" y="18288"/>
                </a:cubicBezTo>
                <a:cubicBezTo>
                  <a:pt x="5511732" y="30214"/>
                  <a:pt x="5312143" y="419"/>
                  <a:pt x="5029657" y="18288"/>
                </a:cubicBezTo>
                <a:cubicBezTo>
                  <a:pt x="4747171" y="36158"/>
                  <a:pt x="4655062" y="30740"/>
                  <a:pt x="4378147" y="18288"/>
                </a:cubicBezTo>
                <a:cubicBezTo>
                  <a:pt x="4101232" y="5837"/>
                  <a:pt x="4037646" y="44706"/>
                  <a:pt x="3726637" y="18288"/>
                </a:cubicBezTo>
                <a:cubicBezTo>
                  <a:pt x="3415628" y="-8130"/>
                  <a:pt x="3321756" y="45507"/>
                  <a:pt x="3075127" y="18288"/>
                </a:cubicBezTo>
                <a:cubicBezTo>
                  <a:pt x="2828498" y="-8931"/>
                  <a:pt x="2684733" y="14853"/>
                  <a:pt x="2501798" y="18288"/>
                </a:cubicBezTo>
                <a:cubicBezTo>
                  <a:pt x="2318863" y="21723"/>
                  <a:pt x="2121844" y="-13013"/>
                  <a:pt x="1772107" y="18288"/>
                </a:cubicBezTo>
                <a:cubicBezTo>
                  <a:pt x="1422370" y="49589"/>
                  <a:pt x="1431548" y="31666"/>
                  <a:pt x="1120597" y="18288"/>
                </a:cubicBezTo>
                <a:cubicBezTo>
                  <a:pt x="809646" y="4911"/>
                  <a:pt x="246393" y="56240"/>
                  <a:pt x="0" y="18288"/>
                </a:cubicBezTo>
                <a:cubicBezTo>
                  <a:pt x="129" y="13298"/>
                  <a:pt x="-675" y="6857"/>
                  <a:pt x="0" y="0"/>
                </a:cubicBezTo>
                <a:close/>
              </a:path>
              <a:path w="7818120" h="18288" stroke="0" extrusionOk="0">
                <a:moveTo>
                  <a:pt x="0" y="0"/>
                </a:moveTo>
                <a:cubicBezTo>
                  <a:pt x="177487" y="-4302"/>
                  <a:pt x="287499" y="4997"/>
                  <a:pt x="573329" y="0"/>
                </a:cubicBezTo>
                <a:cubicBezTo>
                  <a:pt x="859159" y="-4997"/>
                  <a:pt x="821965" y="-336"/>
                  <a:pt x="990295" y="0"/>
                </a:cubicBezTo>
                <a:cubicBezTo>
                  <a:pt x="1158625" y="336"/>
                  <a:pt x="1587918" y="-4681"/>
                  <a:pt x="1798168" y="0"/>
                </a:cubicBezTo>
                <a:cubicBezTo>
                  <a:pt x="2008418" y="4681"/>
                  <a:pt x="2088841" y="-2754"/>
                  <a:pt x="2371496" y="0"/>
                </a:cubicBezTo>
                <a:cubicBezTo>
                  <a:pt x="2654151" y="2754"/>
                  <a:pt x="2701462" y="-24976"/>
                  <a:pt x="2944825" y="0"/>
                </a:cubicBezTo>
                <a:cubicBezTo>
                  <a:pt x="3188188" y="24976"/>
                  <a:pt x="3511636" y="25407"/>
                  <a:pt x="3752698" y="0"/>
                </a:cubicBezTo>
                <a:cubicBezTo>
                  <a:pt x="3993760" y="-25407"/>
                  <a:pt x="4107153" y="6432"/>
                  <a:pt x="4247845" y="0"/>
                </a:cubicBezTo>
                <a:cubicBezTo>
                  <a:pt x="4388537" y="-6432"/>
                  <a:pt x="4835598" y="-5108"/>
                  <a:pt x="5055718" y="0"/>
                </a:cubicBezTo>
                <a:cubicBezTo>
                  <a:pt x="5275838" y="5108"/>
                  <a:pt x="5461006" y="-24536"/>
                  <a:pt x="5863590" y="0"/>
                </a:cubicBezTo>
                <a:cubicBezTo>
                  <a:pt x="6266174" y="24536"/>
                  <a:pt x="6355549" y="-19657"/>
                  <a:pt x="6515100" y="0"/>
                </a:cubicBezTo>
                <a:cubicBezTo>
                  <a:pt x="6674651" y="19657"/>
                  <a:pt x="7275423" y="-57462"/>
                  <a:pt x="7818120" y="0"/>
                </a:cubicBezTo>
                <a:cubicBezTo>
                  <a:pt x="7818132" y="8833"/>
                  <a:pt x="7818660" y="9830"/>
                  <a:pt x="7818120" y="18288"/>
                </a:cubicBezTo>
                <a:cubicBezTo>
                  <a:pt x="7610240" y="4606"/>
                  <a:pt x="7521789" y="7721"/>
                  <a:pt x="7401154" y="18288"/>
                </a:cubicBezTo>
                <a:cubicBezTo>
                  <a:pt x="7280519" y="28855"/>
                  <a:pt x="6930719" y="4225"/>
                  <a:pt x="6593281" y="18288"/>
                </a:cubicBezTo>
                <a:cubicBezTo>
                  <a:pt x="6255843" y="32351"/>
                  <a:pt x="6286682" y="1162"/>
                  <a:pt x="6098134" y="18288"/>
                </a:cubicBezTo>
                <a:cubicBezTo>
                  <a:pt x="5909586" y="35414"/>
                  <a:pt x="5602789" y="48596"/>
                  <a:pt x="5446624" y="18288"/>
                </a:cubicBezTo>
                <a:cubicBezTo>
                  <a:pt x="5290459" y="-12020"/>
                  <a:pt x="4917039" y="21960"/>
                  <a:pt x="4638751" y="18288"/>
                </a:cubicBezTo>
                <a:cubicBezTo>
                  <a:pt x="4360463" y="14616"/>
                  <a:pt x="4304690" y="5450"/>
                  <a:pt x="3987241" y="18288"/>
                </a:cubicBezTo>
                <a:cubicBezTo>
                  <a:pt x="3669792" y="31127"/>
                  <a:pt x="3758742" y="32551"/>
                  <a:pt x="3570275" y="18288"/>
                </a:cubicBezTo>
                <a:cubicBezTo>
                  <a:pt x="3381808" y="4025"/>
                  <a:pt x="3267153" y="36200"/>
                  <a:pt x="3075127" y="18288"/>
                </a:cubicBezTo>
                <a:cubicBezTo>
                  <a:pt x="2883101" y="376"/>
                  <a:pt x="2665825" y="10973"/>
                  <a:pt x="2267255" y="18288"/>
                </a:cubicBezTo>
                <a:cubicBezTo>
                  <a:pt x="1868685" y="25603"/>
                  <a:pt x="1884698" y="28410"/>
                  <a:pt x="1615745" y="18288"/>
                </a:cubicBezTo>
                <a:cubicBezTo>
                  <a:pt x="1346792" y="8167"/>
                  <a:pt x="1320952" y="10430"/>
                  <a:pt x="1120597" y="18288"/>
                </a:cubicBezTo>
                <a:cubicBezTo>
                  <a:pt x="920242" y="26146"/>
                  <a:pt x="556507" y="50790"/>
                  <a:pt x="0" y="18288"/>
                </a:cubicBezTo>
                <a:cubicBezTo>
                  <a:pt x="74" y="14054"/>
                  <a:pt x="-46" y="699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D4A0E410-56DB-08F9-ED41-62E13F23711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4027326"/>
              </p:ext>
            </p:extLst>
          </p:nvPr>
        </p:nvGraphicFramePr>
        <p:xfrm>
          <a:off x="628651" y="2228087"/>
          <a:ext cx="7886700" cy="394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90E8DE-3DB7-17B8-3A14-68F2B4DB9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27683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05CBC3C-2E5A-4839-8B9B-2E5A6ADF0F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B5B423A-57CC-4C58-AA26-8E2E862B0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"/>
            <a:ext cx="3912768" cy="3994777"/>
          </a:xfrm>
          <a:custGeom>
            <a:avLst/>
            <a:gdLst>
              <a:gd name="connsiteX0" fmla="*/ 1945461 w 5217023"/>
              <a:gd name="connsiteY0" fmla="*/ 3787398 h 3994777"/>
              <a:gd name="connsiteX1" fmla="*/ 1942113 w 5217023"/>
              <a:gd name="connsiteY1" fmla="*/ 3790053 h 3994777"/>
              <a:gd name="connsiteX2" fmla="*/ 1946982 w 5217023"/>
              <a:gd name="connsiteY2" fmla="*/ 3787990 h 3994777"/>
              <a:gd name="connsiteX3" fmla="*/ 1945461 w 5217023"/>
              <a:gd name="connsiteY3" fmla="*/ 3787398 h 3994777"/>
              <a:gd name="connsiteX4" fmla="*/ 0 w 5217023"/>
              <a:gd name="connsiteY4" fmla="*/ 0 h 3994777"/>
              <a:gd name="connsiteX5" fmla="*/ 5030958 w 5217023"/>
              <a:gd name="connsiteY5" fmla="*/ 0 h 3994777"/>
              <a:gd name="connsiteX6" fmla="*/ 5046198 w 5217023"/>
              <a:gd name="connsiteY6" fmla="*/ 153449 h 3994777"/>
              <a:gd name="connsiteX7" fmla="*/ 5055729 w 5217023"/>
              <a:gd name="connsiteY7" fmla="*/ 415828 h 3994777"/>
              <a:gd name="connsiteX8" fmla="*/ 4735242 w 5217023"/>
              <a:gd name="connsiteY8" fmla="*/ 1867130 h 3994777"/>
              <a:gd name="connsiteX9" fmla="*/ 3907395 w 5217023"/>
              <a:gd name="connsiteY9" fmla="*/ 2938441 h 3994777"/>
              <a:gd name="connsiteX10" fmla="*/ 3946497 w 5217023"/>
              <a:gd name="connsiteY10" fmla="*/ 2908567 h 3994777"/>
              <a:gd name="connsiteX11" fmla="*/ 4585421 w 5217023"/>
              <a:gd name="connsiteY11" fmla="*/ 2188401 h 3994777"/>
              <a:gd name="connsiteX12" fmla="*/ 5142585 w 5217023"/>
              <a:gd name="connsiteY12" fmla="*/ 276891 h 3994777"/>
              <a:gd name="connsiteX13" fmla="*/ 5121833 w 5217023"/>
              <a:gd name="connsiteY13" fmla="*/ 30208 h 3994777"/>
              <a:gd name="connsiteX14" fmla="*/ 5116229 w 5217023"/>
              <a:gd name="connsiteY14" fmla="*/ 0 h 3994777"/>
              <a:gd name="connsiteX15" fmla="*/ 5184724 w 5217023"/>
              <a:gd name="connsiteY15" fmla="*/ 0 h 3994777"/>
              <a:gd name="connsiteX16" fmla="*/ 5196265 w 5217023"/>
              <a:gd name="connsiteY16" fmla="*/ 66113 h 3994777"/>
              <a:gd name="connsiteX17" fmla="*/ 5058603 w 5217023"/>
              <a:gd name="connsiteY17" fmla="*/ 1368242 h 3994777"/>
              <a:gd name="connsiteX18" fmla="*/ 4096624 w 5217023"/>
              <a:gd name="connsiteY18" fmla="*/ 2870829 h 3994777"/>
              <a:gd name="connsiteX19" fmla="*/ 3833203 w 5217023"/>
              <a:gd name="connsiteY19" fmla="*/ 3092190 h 3994777"/>
              <a:gd name="connsiteX20" fmla="*/ 3536509 w 5217023"/>
              <a:gd name="connsiteY20" fmla="*/ 3297128 h 3994777"/>
              <a:gd name="connsiteX21" fmla="*/ 3148966 w 5217023"/>
              <a:gd name="connsiteY21" fmla="*/ 3485478 h 3994777"/>
              <a:gd name="connsiteX22" fmla="*/ 1860557 w 5217023"/>
              <a:gd name="connsiteY22" fmla="*/ 3880910 h 3994777"/>
              <a:gd name="connsiteX23" fmla="*/ 573715 w 5217023"/>
              <a:gd name="connsiteY23" fmla="*/ 3983764 h 3994777"/>
              <a:gd name="connsiteX24" fmla="*/ 108410 w 5217023"/>
              <a:gd name="connsiteY24" fmla="*/ 3908816 h 3994777"/>
              <a:gd name="connsiteX25" fmla="*/ 0 w 5217023"/>
              <a:gd name="connsiteY25" fmla="*/ 3876793 h 3994777"/>
              <a:gd name="connsiteX26" fmla="*/ 0 w 5217023"/>
              <a:gd name="connsiteY26" fmla="*/ 3802912 h 3994777"/>
              <a:gd name="connsiteX27" fmla="*/ 36975 w 5217023"/>
              <a:gd name="connsiteY27" fmla="*/ 3815954 h 3994777"/>
              <a:gd name="connsiteX28" fmla="*/ 561628 w 5217023"/>
              <a:gd name="connsiteY28" fmla="*/ 3912655 h 3994777"/>
              <a:gd name="connsiteX29" fmla="*/ 1683086 w 5217023"/>
              <a:gd name="connsiteY29" fmla="*/ 3844334 h 3994777"/>
              <a:gd name="connsiteX30" fmla="*/ 1806023 w 5217023"/>
              <a:gd name="connsiteY30" fmla="*/ 3820992 h 3994777"/>
              <a:gd name="connsiteX31" fmla="*/ 1921817 w 5217023"/>
              <a:gd name="connsiteY31" fmla="*/ 3795747 h 3994777"/>
              <a:gd name="connsiteX32" fmla="*/ 1243689 w 5217023"/>
              <a:gd name="connsiteY32" fmla="*/ 3846539 h 3994777"/>
              <a:gd name="connsiteX33" fmla="*/ 62875 w 5217023"/>
              <a:gd name="connsiteY33" fmla="*/ 3668143 h 3994777"/>
              <a:gd name="connsiteX34" fmla="*/ 0 w 5217023"/>
              <a:gd name="connsiteY34" fmla="*/ 3644185 h 3994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17023" h="3994777">
                <a:moveTo>
                  <a:pt x="1945461" y="3787398"/>
                </a:moveTo>
                <a:lnTo>
                  <a:pt x="1942113" y="3790053"/>
                </a:lnTo>
                <a:lnTo>
                  <a:pt x="1946982" y="3787990"/>
                </a:lnTo>
                <a:cubicBezTo>
                  <a:pt x="1946982" y="3787990"/>
                  <a:pt x="1946379" y="3787019"/>
                  <a:pt x="1945461" y="3787398"/>
                </a:cubicBezTo>
                <a:close/>
                <a:moveTo>
                  <a:pt x="0" y="0"/>
                </a:moveTo>
                <a:lnTo>
                  <a:pt x="5030958" y="0"/>
                </a:lnTo>
                <a:lnTo>
                  <a:pt x="5046198" y="153449"/>
                </a:lnTo>
                <a:cubicBezTo>
                  <a:pt x="5052189" y="240558"/>
                  <a:pt x="5055458" y="328007"/>
                  <a:pt x="5055729" y="415828"/>
                </a:cubicBezTo>
                <a:cubicBezTo>
                  <a:pt x="5057604" y="923672"/>
                  <a:pt x="4959210" y="1409054"/>
                  <a:pt x="4735242" y="1867130"/>
                </a:cubicBezTo>
                <a:cubicBezTo>
                  <a:pt x="4533284" y="2280198"/>
                  <a:pt x="4248921" y="2629330"/>
                  <a:pt x="3907395" y="2938441"/>
                </a:cubicBezTo>
                <a:cubicBezTo>
                  <a:pt x="3922498" y="2931535"/>
                  <a:pt x="3935859" y="2921330"/>
                  <a:pt x="3946497" y="2908567"/>
                </a:cubicBezTo>
                <a:cubicBezTo>
                  <a:pt x="4193494" y="2700987"/>
                  <a:pt x="4408756" y="2458364"/>
                  <a:pt x="4585421" y="2188401"/>
                </a:cubicBezTo>
                <a:cubicBezTo>
                  <a:pt x="4967641" y="1608533"/>
                  <a:pt x="5169304" y="975361"/>
                  <a:pt x="5142585" y="276891"/>
                </a:cubicBezTo>
                <a:cubicBezTo>
                  <a:pt x="5139764" y="194215"/>
                  <a:pt x="5132824" y="111888"/>
                  <a:pt x="5121833" y="30208"/>
                </a:cubicBezTo>
                <a:lnTo>
                  <a:pt x="5116229" y="0"/>
                </a:lnTo>
                <a:lnTo>
                  <a:pt x="5184724" y="0"/>
                </a:lnTo>
                <a:lnTo>
                  <a:pt x="5196265" y="66113"/>
                </a:lnTo>
                <a:cubicBezTo>
                  <a:pt x="5249921" y="496647"/>
                  <a:pt x="5197997" y="931171"/>
                  <a:pt x="5058603" y="1368242"/>
                </a:cubicBezTo>
                <a:cubicBezTo>
                  <a:pt x="4872414" y="1953929"/>
                  <a:pt x="4544298" y="2451351"/>
                  <a:pt x="4096624" y="2870829"/>
                </a:cubicBezTo>
                <a:cubicBezTo>
                  <a:pt x="4012832" y="2949426"/>
                  <a:pt x="3924415" y="3022439"/>
                  <a:pt x="3833203" y="3092190"/>
                </a:cubicBezTo>
                <a:cubicBezTo>
                  <a:pt x="3741992" y="3161943"/>
                  <a:pt x="3648667" y="3225510"/>
                  <a:pt x="3536509" y="3297128"/>
                </a:cubicBezTo>
                <a:cubicBezTo>
                  <a:pt x="3427215" y="3372735"/>
                  <a:pt x="3288598" y="3430233"/>
                  <a:pt x="3148966" y="3485478"/>
                </a:cubicBezTo>
                <a:cubicBezTo>
                  <a:pt x="2729930" y="3651299"/>
                  <a:pt x="2302194" y="3788890"/>
                  <a:pt x="1860557" y="3880910"/>
                </a:cubicBezTo>
                <a:cubicBezTo>
                  <a:pt x="1435974" y="3969444"/>
                  <a:pt x="1008052" y="4017957"/>
                  <a:pt x="573715" y="3983764"/>
                </a:cubicBezTo>
                <a:cubicBezTo>
                  <a:pt x="415134" y="3971300"/>
                  <a:pt x="259585" y="3947743"/>
                  <a:pt x="108410" y="3908816"/>
                </a:cubicBezTo>
                <a:lnTo>
                  <a:pt x="0" y="3876793"/>
                </a:lnTo>
                <a:lnTo>
                  <a:pt x="0" y="3802912"/>
                </a:lnTo>
                <a:lnTo>
                  <a:pt x="36975" y="3815954"/>
                </a:lnTo>
                <a:cubicBezTo>
                  <a:pt x="206404" y="3867475"/>
                  <a:pt x="382020" y="3897326"/>
                  <a:pt x="561628" y="3912655"/>
                </a:cubicBezTo>
                <a:cubicBezTo>
                  <a:pt x="938583" y="3944832"/>
                  <a:pt x="1311814" y="3910697"/>
                  <a:pt x="1683086" y="3844334"/>
                </a:cubicBezTo>
                <a:cubicBezTo>
                  <a:pt x="1724123" y="3837151"/>
                  <a:pt x="1765097" y="3829374"/>
                  <a:pt x="1806023" y="3820992"/>
                </a:cubicBezTo>
                <a:cubicBezTo>
                  <a:pt x="1844740" y="3813079"/>
                  <a:pt x="1883218" y="3804161"/>
                  <a:pt x="1921817" y="3795747"/>
                </a:cubicBezTo>
                <a:cubicBezTo>
                  <a:pt x="1697011" y="3826435"/>
                  <a:pt x="1470551" y="3843387"/>
                  <a:pt x="1243689" y="3846539"/>
                </a:cubicBezTo>
                <a:cubicBezTo>
                  <a:pt x="839058" y="3849054"/>
                  <a:pt x="443424" y="3800206"/>
                  <a:pt x="62875" y="3668143"/>
                </a:cubicBezTo>
                <a:lnTo>
                  <a:pt x="0" y="364418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673774"/>
            <a:ext cx="2415247" cy="2027227"/>
          </a:xfrm>
        </p:spPr>
        <p:txBody>
          <a:bodyPr vert="horz" anchor="t">
            <a:normAutofit/>
          </a:bodyPr>
          <a:lstStyle/>
          <a:p>
            <a:pPr>
              <a:lnSpc>
                <a:spcPct val="90000"/>
              </a:lnSpc>
              <a:defRPr>
                <a:solidFill>
                  <a:srgbClr val="000000"/>
                </a:solidFill>
                <a:latin typeface="Arial"/>
              </a:defRPr>
            </a:pPr>
            <a:r>
              <a:rPr lang="ar-JO" sz="4000">
                <a:solidFill>
                  <a:srgbClr val="FFFFFF"/>
                </a:solidFill>
              </a:rPr>
              <a:t>أهمية الإيمان في حياتنا المسيحية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F84DBC39-E92C-ECB8-3093-9E2E0446871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8790095"/>
              </p:ext>
            </p:extLst>
          </p:nvPr>
        </p:nvGraphicFramePr>
        <p:xfrm>
          <a:off x="3912767" y="0"/>
          <a:ext cx="5036024" cy="66987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E7E89FC-90CC-91E6-0613-D24651FEE5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66310A1-5CBA-46A3-E0C3-F201C0AD6F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44209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59015F-0611-F864-5DD8-5476976BA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73DD76E-492B-9468-EDF1-EF2E94D3B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F4D0BE-EC22-D304-4483-A7AE8CE4F4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30"/>
            <a:ext cx="7886700" cy="1325563"/>
          </a:xfrm>
        </p:spPr>
        <p:txBody>
          <a:bodyPr vert="horz">
            <a:normAutofit/>
          </a:bodyPr>
          <a:lstStyle/>
          <a:p>
            <a:pPr>
              <a:defRPr>
                <a:solidFill>
                  <a:srgbClr val="000000"/>
                </a:solidFill>
                <a:latin typeface="Arial"/>
              </a:defRPr>
            </a:pPr>
            <a:r>
              <a:rPr lang="ar-JO" dirty="0"/>
              <a:t>كيف أعيش فضيلة الإيمان يومياً؟</a:t>
            </a:r>
            <a:endParaRPr lang="ar-JO" sz="4300" dirty="0"/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6249F977-FF39-CE7C-19A6-6A7B93CADF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51" y="1865313"/>
            <a:ext cx="7818120" cy="18288"/>
          </a:xfrm>
          <a:custGeom>
            <a:avLst/>
            <a:gdLst>
              <a:gd name="connsiteX0" fmla="*/ 0 w 7818120"/>
              <a:gd name="connsiteY0" fmla="*/ 0 h 18288"/>
              <a:gd name="connsiteX1" fmla="*/ 416966 w 7818120"/>
              <a:gd name="connsiteY1" fmla="*/ 0 h 18288"/>
              <a:gd name="connsiteX2" fmla="*/ 1146658 w 7818120"/>
              <a:gd name="connsiteY2" fmla="*/ 0 h 18288"/>
              <a:gd name="connsiteX3" fmla="*/ 1563624 w 7818120"/>
              <a:gd name="connsiteY3" fmla="*/ 0 h 18288"/>
              <a:gd name="connsiteX4" fmla="*/ 2136953 w 7818120"/>
              <a:gd name="connsiteY4" fmla="*/ 0 h 18288"/>
              <a:gd name="connsiteX5" fmla="*/ 2944825 w 7818120"/>
              <a:gd name="connsiteY5" fmla="*/ 0 h 18288"/>
              <a:gd name="connsiteX6" fmla="*/ 3596335 w 7818120"/>
              <a:gd name="connsiteY6" fmla="*/ 0 h 18288"/>
              <a:gd name="connsiteX7" fmla="*/ 4326026 w 7818120"/>
              <a:gd name="connsiteY7" fmla="*/ 0 h 18288"/>
              <a:gd name="connsiteX8" fmla="*/ 4899355 w 7818120"/>
              <a:gd name="connsiteY8" fmla="*/ 0 h 18288"/>
              <a:gd name="connsiteX9" fmla="*/ 5550865 w 7818120"/>
              <a:gd name="connsiteY9" fmla="*/ 0 h 18288"/>
              <a:gd name="connsiteX10" fmla="*/ 6358738 w 7818120"/>
              <a:gd name="connsiteY10" fmla="*/ 0 h 18288"/>
              <a:gd name="connsiteX11" fmla="*/ 6853885 w 7818120"/>
              <a:gd name="connsiteY11" fmla="*/ 0 h 18288"/>
              <a:gd name="connsiteX12" fmla="*/ 7818120 w 7818120"/>
              <a:gd name="connsiteY12" fmla="*/ 0 h 18288"/>
              <a:gd name="connsiteX13" fmla="*/ 7818120 w 7818120"/>
              <a:gd name="connsiteY13" fmla="*/ 18288 h 18288"/>
              <a:gd name="connsiteX14" fmla="*/ 7244791 w 7818120"/>
              <a:gd name="connsiteY14" fmla="*/ 18288 h 18288"/>
              <a:gd name="connsiteX15" fmla="*/ 6827825 w 7818120"/>
              <a:gd name="connsiteY15" fmla="*/ 18288 h 18288"/>
              <a:gd name="connsiteX16" fmla="*/ 6176315 w 7818120"/>
              <a:gd name="connsiteY16" fmla="*/ 18288 h 18288"/>
              <a:gd name="connsiteX17" fmla="*/ 5681167 w 7818120"/>
              <a:gd name="connsiteY17" fmla="*/ 18288 h 18288"/>
              <a:gd name="connsiteX18" fmla="*/ 5029657 w 7818120"/>
              <a:gd name="connsiteY18" fmla="*/ 18288 h 18288"/>
              <a:gd name="connsiteX19" fmla="*/ 4378147 w 7818120"/>
              <a:gd name="connsiteY19" fmla="*/ 18288 h 18288"/>
              <a:gd name="connsiteX20" fmla="*/ 3726637 w 7818120"/>
              <a:gd name="connsiteY20" fmla="*/ 18288 h 18288"/>
              <a:gd name="connsiteX21" fmla="*/ 3075127 w 7818120"/>
              <a:gd name="connsiteY21" fmla="*/ 18288 h 18288"/>
              <a:gd name="connsiteX22" fmla="*/ 2501798 w 7818120"/>
              <a:gd name="connsiteY22" fmla="*/ 18288 h 18288"/>
              <a:gd name="connsiteX23" fmla="*/ 1772107 w 7818120"/>
              <a:gd name="connsiteY23" fmla="*/ 18288 h 18288"/>
              <a:gd name="connsiteX24" fmla="*/ 1120597 w 7818120"/>
              <a:gd name="connsiteY24" fmla="*/ 18288 h 18288"/>
              <a:gd name="connsiteX25" fmla="*/ 0 w 7818120"/>
              <a:gd name="connsiteY25" fmla="*/ 18288 h 18288"/>
              <a:gd name="connsiteX26" fmla="*/ 0 w 7818120"/>
              <a:gd name="connsiteY2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818120" h="18288" fill="none" extrusionOk="0">
                <a:moveTo>
                  <a:pt x="0" y="0"/>
                </a:moveTo>
                <a:cubicBezTo>
                  <a:pt x="121520" y="-12182"/>
                  <a:pt x="211324" y="18247"/>
                  <a:pt x="416966" y="0"/>
                </a:cubicBezTo>
                <a:cubicBezTo>
                  <a:pt x="622608" y="-18247"/>
                  <a:pt x="891241" y="-13744"/>
                  <a:pt x="1146658" y="0"/>
                </a:cubicBezTo>
                <a:cubicBezTo>
                  <a:pt x="1402075" y="13744"/>
                  <a:pt x="1378880" y="-8543"/>
                  <a:pt x="1563624" y="0"/>
                </a:cubicBezTo>
                <a:cubicBezTo>
                  <a:pt x="1748368" y="8543"/>
                  <a:pt x="1972300" y="7443"/>
                  <a:pt x="2136953" y="0"/>
                </a:cubicBezTo>
                <a:cubicBezTo>
                  <a:pt x="2301606" y="-7443"/>
                  <a:pt x="2679634" y="12382"/>
                  <a:pt x="2944825" y="0"/>
                </a:cubicBezTo>
                <a:cubicBezTo>
                  <a:pt x="3210016" y="-12382"/>
                  <a:pt x="3409232" y="17967"/>
                  <a:pt x="3596335" y="0"/>
                </a:cubicBezTo>
                <a:cubicBezTo>
                  <a:pt x="3783438" y="-17967"/>
                  <a:pt x="4002523" y="-28578"/>
                  <a:pt x="4326026" y="0"/>
                </a:cubicBezTo>
                <a:cubicBezTo>
                  <a:pt x="4649529" y="28578"/>
                  <a:pt x="4777384" y="-3624"/>
                  <a:pt x="4899355" y="0"/>
                </a:cubicBezTo>
                <a:cubicBezTo>
                  <a:pt x="5021326" y="3624"/>
                  <a:pt x="5317653" y="1281"/>
                  <a:pt x="5550865" y="0"/>
                </a:cubicBezTo>
                <a:cubicBezTo>
                  <a:pt x="5784077" y="-1281"/>
                  <a:pt x="6142956" y="-39637"/>
                  <a:pt x="6358738" y="0"/>
                </a:cubicBezTo>
                <a:cubicBezTo>
                  <a:pt x="6574520" y="39637"/>
                  <a:pt x="6724785" y="-4460"/>
                  <a:pt x="6853885" y="0"/>
                </a:cubicBezTo>
                <a:cubicBezTo>
                  <a:pt x="6982985" y="4460"/>
                  <a:pt x="7403044" y="-1955"/>
                  <a:pt x="7818120" y="0"/>
                </a:cubicBezTo>
                <a:cubicBezTo>
                  <a:pt x="7817988" y="7702"/>
                  <a:pt x="7817908" y="13511"/>
                  <a:pt x="7818120" y="18288"/>
                </a:cubicBezTo>
                <a:cubicBezTo>
                  <a:pt x="7698847" y="-3267"/>
                  <a:pt x="7390924" y="22979"/>
                  <a:pt x="7244791" y="18288"/>
                </a:cubicBezTo>
                <a:cubicBezTo>
                  <a:pt x="7098658" y="13597"/>
                  <a:pt x="6952735" y="29357"/>
                  <a:pt x="6827825" y="18288"/>
                </a:cubicBezTo>
                <a:cubicBezTo>
                  <a:pt x="6702915" y="7219"/>
                  <a:pt x="6338661" y="34530"/>
                  <a:pt x="6176315" y="18288"/>
                </a:cubicBezTo>
                <a:cubicBezTo>
                  <a:pt x="6013969" y="2047"/>
                  <a:pt x="5850602" y="6362"/>
                  <a:pt x="5681167" y="18288"/>
                </a:cubicBezTo>
                <a:cubicBezTo>
                  <a:pt x="5511732" y="30214"/>
                  <a:pt x="5312143" y="419"/>
                  <a:pt x="5029657" y="18288"/>
                </a:cubicBezTo>
                <a:cubicBezTo>
                  <a:pt x="4747171" y="36158"/>
                  <a:pt x="4655062" y="30740"/>
                  <a:pt x="4378147" y="18288"/>
                </a:cubicBezTo>
                <a:cubicBezTo>
                  <a:pt x="4101232" y="5837"/>
                  <a:pt x="4037646" y="44706"/>
                  <a:pt x="3726637" y="18288"/>
                </a:cubicBezTo>
                <a:cubicBezTo>
                  <a:pt x="3415628" y="-8130"/>
                  <a:pt x="3321756" y="45507"/>
                  <a:pt x="3075127" y="18288"/>
                </a:cubicBezTo>
                <a:cubicBezTo>
                  <a:pt x="2828498" y="-8931"/>
                  <a:pt x="2684733" y="14853"/>
                  <a:pt x="2501798" y="18288"/>
                </a:cubicBezTo>
                <a:cubicBezTo>
                  <a:pt x="2318863" y="21723"/>
                  <a:pt x="2121844" y="-13013"/>
                  <a:pt x="1772107" y="18288"/>
                </a:cubicBezTo>
                <a:cubicBezTo>
                  <a:pt x="1422370" y="49589"/>
                  <a:pt x="1431548" y="31666"/>
                  <a:pt x="1120597" y="18288"/>
                </a:cubicBezTo>
                <a:cubicBezTo>
                  <a:pt x="809646" y="4911"/>
                  <a:pt x="246393" y="56240"/>
                  <a:pt x="0" y="18288"/>
                </a:cubicBezTo>
                <a:cubicBezTo>
                  <a:pt x="129" y="13298"/>
                  <a:pt x="-675" y="6857"/>
                  <a:pt x="0" y="0"/>
                </a:cubicBezTo>
                <a:close/>
              </a:path>
              <a:path w="7818120" h="18288" stroke="0" extrusionOk="0">
                <a:moveTo>
                  <a:pt x="0" y="0"/>
                </a:moveTo>
                <a:cubicBezTo>
                  <a:pt x="177487" y="-4302"/>
                  <a:pt x="287499" y="4997"/>
                  <a:pt x="573329" y="0"/>
                </a:cubicBezTo>
                <a:cubicBezTo>
                  <a:pt x="859159" y="-4997"/>
                  <a:pt x="821965" y="-336"/>
                  <a:pt x="990295" y="0"/>
                </a:cubicBezTo>
                <a:cubicBezTo>
                  <a:pt x="1158625" y="336"/>
                  <a:pt x="1587918" y="-4681"/>
                  <a:pt x="1798168" y="0"/>
                </a:cubicBezTo>
                <a:cubicBezTo>
                  <a:pt x="2008418" y="4681"/>
                  <a:pt x="2088841" y="-2754"/>
                  <a:pt x="2371496" y="0"/>
                </a:cubicBezTo>
                <a:cubicBezTo>
                  <a:pt x="2654151" y="2754"/>
                  <a:pt x="2701462" y="-24976"/>
                  <a:pt x="2944825" y="0"/>
                </a:cubicBezTo>
                <a:cubicBezTo>
                  <a:pt x="3188188" y="24976"/>
                  <a:pt x="3511636" y="25407"/>
                  <a:pt x="3752698" y="0"/>
                </a:cubicBezTo>
                <a:cubicBezTo>
                  <a:pt x="3993760" y="-25407"/>
                  <a:pt x="4107153" y="6432"/>
                  <a:pt x="4247845" y="0"/>
                </a:cubicBezTo>
                <a:cubicBezTo>
                  <a:pt x="4388537" y="-6432"/>
                  <a:pt x="4835598" y="-5108"/>
                  <a:pt x="5055718" y="0"/>
                </a:cubicBezTo>
                <a:cubicBezTo>
                  <a:pt x="5275838" y="5108"/>
                  <a:pt x="5461006" y="-24536"/>
                  <a:pt x="5863590" y="0"/>
                </a:cubicBezTo>
                <a:cubicBezTo>
                  <a:pt x="6266174" y="24536"/>
                  <a:pt x="6355549" y="-19657"/>
                  <a:pt x="6515100" y="0"/>
                </a:cubicBezTo>
                <a:cubicBezTo>
                  <a:pt x="6674651" y="19657"/>
                  <a:pt x="7275423" y="-57462"/>
                  <a:pt x="7818120" y="0"/>
                </a:cubicBezTo>
                <a:cubicBezTo>
                  <a:pt x="7818132" y="8833"/>
                  <a:pt x="7818660" y="9830"/>
                  <a:pt x="7818120" y="18288"/>
                </a:cubicBezTo>
                <a:cubicBezTo>
                  <a:pt x="7610240" y="4606"/>
                  <a:pt x="7521789" y="7721"/>
                  <a:pt x="7401154" y="18288"/>
                </a:cubicBezTo>
                <a:cubicBezTo>
                  <a:pt x="7280519" y="28855"/>
                  <a:pt x="6930719" y="4225"/>
                  <a:pt x="6593281" y="18288"/>
                </a:cubicBezTo>
                <a:cubicBezTo>
                  <a:pt x="6255843" y="32351"/>
                  <a:pt x="6286682" y="1162"/>
                  <a:pt x="6098134" y="18288"/>
                </a:cubicBezTo>
                <a:cubicBezTo>
                  <a:pt x="5909586" y="35414"/>
                  <a:pt x="5602789" y="48596"/>
                  <a:pt x="5446624" y="18288"/>
                </a:cubicBezTo>
                <a:cubicBezTo>
                  <a:pt x="5290459" y="-12020"/>
                  <a:pt x="4917039" y="21960"/>
                  <a:pt x="4638751" y="18288"/>
                </a:cubicBezTo>
                <a:cubicBezTo>
                  <a:pt x="4360463" y="14616"/>
                  <a:pt x="4304690" y="5450"/>
                  <a:pt x="3987241" y="18288"/>
                </a:cubicBezTo>
                <a:cubicBezTo>
                  <a:pt x="3669792" y="31127"/>
                  <a:pt x="3758742" y="32551"/>
                  <a:pt x="3570275" y="18288"/>
                </a:cubicBezTo>
                <a:cubicBezTo>
                  <a:pt x="3381808" y="4025"/>
                  <a:pt x="3267153" y="36200"/>
                  <a:pt x="3075127" y="18288"/>
                </a:cubicBezTo>
                <a:cubicBezTo>
                  <a:pt x="2883101" y="376"/>
                  <a:pt x="2665825" y="10973"/>
                  <a:pt x="2267255" y="18288"/>
                </a:cubicBezTo>
                <a:cubicBezTo>
                  <a:pt x="1868685" y="25603"/>
                  <a:pt x="1884698" y="28410"/>
                  <a:pt x="1615745" y="18288"/>
                </a:cubicBezTo>
                <a:cubicBezTo>
                  <a:pt x="1346792" y="8167"/>
                  <a:pt x="1320952" y="10430"/>
                  <a:pt x="1120597" y="18288"/>
                </a:cubicBezTo>
                <a:cubicBezTo>
                  <a:pt x="920242" y="26146"/>
                  <a:pt x="556507" y="50790"/>
                  <a:pt x="0" y="18288"/>
                </a:cubicBezTo>
                <a:cubicBezTo>
                  <a:pt x="74" y="14054"/>
                  <a:pt x="-46" y="699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88FB1D2F-394B-3D08-4D74-973B24A9E3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3381885"/>
              </p:ext>
            </p:extLst>
          </p:nvPr>
        </p:nvGraphicFramePr>
        <p:xfrm>
          <a:off x="483047" y="2112584"/>
          <a:ext cx="8195871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919824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CE0EF7B-E801-B444-2F7A-B5C8C6A1D8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48805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91417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640823"/>
            <a:ext cx="2563995" cy="5583148"/>
          </a:xfrm>
        </p:spPr>
        <p:txBody>
          <a:bodyPr vert="horz" anchor="ctr">
            <a:normAutofit/>
          </a:bodyPr>
          <a:lstStyle/>
          <a:p>
            <a:pPr>
              <a:defRPr>
                <a:solidFill>
                  <a:srgbClr val="000000"/>
                </a:solidFill>
                <a:latin typeface="Arial"/>
              </a:defRPr>
            </a:pPr>
            <a:r>
              <a:rPr lang="ar-JO" sz="4700"/>
              <a:t>موقف طبّقت فيه الإيمان</a:t>
            </a: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44313" y="3465006"/>
            <a:ext cx="5410200" cy="13716"/>
          </a:xfrm>
          <a:custGeom>
            <a:avLst/>
            <a:gdLst>
              <a:gd name="connsiteX0" fmla="*/ 0 w 5410200"/>
              <a:gd name="connsiteY0" fmla="*/ 0 h 13716"/>
              <a:gd name="connsiteX1" fmla="*/ 568071 w 5410200"/>
              <a:gd name="connsiteY1" fmla="*/ 0 h 13716"/>
              <a:gd name="connsiteX2" fmla="*/ 1298448 w 5410200"/>
              <a:gd name="connsiteY2" fmla="*/ 0 h 13716"/>
              <a:gd name="connsiteX3" fmla="*/ 1920621 w 5410200"/>
              <a:gd name="connsiteY3" fmla="*/ 0 h 13716"/>
              <a:gd name="connsiteX4" fmla="*/ 2488692 w 5410200"/>
              <a:gd name="connsiteY4" fmla="*/ 0 h 13716"/>
              <a:gd name="connsiteX5" fmla="*/ 3219069 w 5410200"/>
              <a:gd name="connsiteY5" fmla="*/ 0 h 13716"/>
              <a:gd name="connsiteX6" fmla="*/ 3895344 w 5410200"/>
              <a:gd name="connsiteY6" fmla="*/ 0 h 13716"/>
              <a:gd name="connsiteX7" fmla="*/ 4571619 w 5410200"/>
              <a:gd name="connsiteY7" fmla="*/ 0 h 13716"/>
              <a:gd name="connsiteX8" fmla="*/ 5410200 w 5410200"/>
              <a:gd name="connsiteY8" fmla="*/ 0 h 13716"/>
              <a:gd name="connsiteX9" fmla="*/ 5410200 w 5410200"/>
              <a:gd name="connsiteY9" fmla="*/ 13716 h 13716"/>
              <a:gd name="connsiteX10" fmla="*/ 4842129 w 5410200"/>
              <a:gd name="connsiteY10" fmla="*/ 13716 h 13716"/>
              <a:gd name="connsiteX11" fmla="*/ 4328160 w 5410200"/>
              <a:gd name="connsiteY11" fmla="*/ 13716 h 13716"/>
              <a:gd name="connsiteX12" fmla="*/ 3597783 w 5410200"/>
              <a:gd name="connsiteY12" fmla="*/ 13716 h 13716"/>
              <a:gd name="connsiteX13" fmla="*/ 3029712 w 5410200"/>
              <a:gd name="connsiteY13" fmla="*/ 13716 h 13716"/>
              <a:gd name="connsiteX14" fmla="*/ 2299335 w 5410200"/>
              <a:gd name="connsiteY14" fmla="*/ 13716 h 13716"/>
              <a:gd name="connsiteX15" fmla="*/ 1514856 w 5410200"/>
              <a:gd name="connsiteY15" fmla="*/ 13716 h 13716"/>
              <a:gd name="connsiteX16" fmla="*/ 892683 w 5410200"/>
              <a:gd name="connsiteY16" fmla="*/ 13716 h 13716"/>
              <a:gd name="connsiteX17" fmla="*/ 0 w 5410200"/>
              <a:gd name="connsiteY17" fmla="*/ 13716 h 13716"/>
              <a:gd name="connsiteX18" fmla="*/ 0 w 5410200"/>
              <a:gd name="connsiteY18" fmla="*/ 0 h 13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3716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09587" y="2854"/>
                  <a:pt x="5409791" y="9451"/>
                  <a:pt x="5410200" y="13716"/>
                </a:cubicBezTo>
                <a:cubicBezTo>
                  <a:pt x="5139060" y="2179"/>
                  <a:pt x="5121593" y="26463"/>
                  <a:pt x="4842129" y="13716"/>
                </a:cubicBezTo>
                <a:cubicBezTo>
                  <a:pt x="4562665" y="969"/>
                  <a:pt x="4448273" y="4915"/>
                  <a:pt x="4328160" y="13716"/>
                </a:cubicBezTo>
                <a:cubicBezTo>
                  <a:pt x="4208047" y="22517"/>
                  <a:pt x="3760936" y="17995"/>
                  <a:pt x="3597783" y="13716"/>
                </a:cubicBezTo>
                <a:cubicBezTo>
                  <a:pt x="3434630" y="9437"/>
                  <a:pt x="3299718" y="28641"/>
                  <a:pt x="3029712" y="13716"/>
                </a:cubicBezTo>
                <a:cubicBezTo>
                  <a:pt x="2759706" y="-1209"/>
                  <a:pt x="2640159" y="22822"/>
                  <a:pt x="2299335" y="13716"/>
                </a:cubicBezTo>
                <a:cubicBezTo>
                  <a:pt x="1958511" y="4610"/>
                  <a:pt x="1801186" y="24413"/>
                  <a:pt x="1514856" y="13716"/>
                </a:cubicBezTo>
                <a:cubicBezTo>
                  <a:pt x="1228526" y="3019"/>
                  <a:pt x="1063509" y="-9877"/>
                  <a:pt x="892683" y="13716"/>
                </a:cubicBezTo>
                <a:cubicBezTo>
                  <a:pt x="721857" y="37309"/>
                  <a:pt x="186945" y="-25469"/>
                  <a:pt x="0" y="13716"/>
                </a:cubicBezTo>
                <a:cubicBezTo>
                  <a:pt x="-342" y="9537"/>
                  <a:pt x="-97" y="6817"/>
                  <a:pt x="0" y="0"/>
                </a:cubicBezTo>
                <a:close/>
              </a:path>
              <a:path w="5410200" h="13716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10660" y="2787"/>
                  <a:pt x="5410166" y="9748"/>
                  <a:pt x="5410200" y="13716"/>
                </a:cubicBezTo>
                <a:cubicBezTo>
                  <a:pt x="5163327" y="36922"/>
                  <a:pt x="5008749" y="6121"/>
                  <a:pt x="4842129" y="13716"/>
                </a:cubicBezTo>
                <a:cubicBezTo>
                  <a:pt x="4675509" y="21311"/>
                  <a:pt x="4433401" y="-5187"/>
                  <a:pt x="4165854" y="13716"/>
                </a:cubicBezTo>
                <a:cubicBezTo>
                  <a:pt x="3898308" y="32619"/>
                  <a:pt x="3809032" y="-13282"/>
                  <a:pt x="3543681" y="13716"/>
                </a:cubicBezTo>
                <a:cubicBezTo>
                  <a:pt x="3278330" y="40714"/>
                  <a:pt x="3073876" y="-20489"/>
                  <a:pt x="2759202" y="13716"/>
                </a:cubicBezTo>
                <a:cubicBezTo>
                  <a:pt x="2444528" y="47921"/>
                  <a:pt x="2204144" y="-1200"/>
                  <a:pt x="1974723" y="13716"/>
                </a:cubicBezTo>
                <a:cubicBezTo>
                  <a:pt x="1745302" y="28632"/>
                  <a:pt x="1602335" y="26918"/>
                  <a:pt x="1406652" y="13716"/>
                </a:cubicBezTo>
                <a:cubicBezTo>
                  <a:pt x="1210969" y="514"/>
                  <a:pt x="923948" y="-1411"/>
                  <a:pt x="730377" y="13716"/>
                </a:cubicBezTo>
                <a:cubicBezTo>
                  <a:pt x="536806" y="28843"/>
                  <a:pt x="336496" y="-4713"/>
                  <a:pt x="0" y="13716"/>
                </a:cubicBezTo>
                <a:cubicBezTo>
                  <a:pt x="-535" y="9547"/>
                  <a:pt x="488" y="451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8267A1F2-8F51-FB34-7DE8-7BEFC7108DF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498645"/>
              </p:ext>
            </p:extLst>
          </p:nvPr>
        </p:nvGraphicFramePr>
        <p:xfrm>
          <a:off x="3486013" y="640827"/>
          <a:ext cx="5175384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Metadata/LabelInfo.xml><?xml version="1.0" encoding="utf-8"?>
<clbl:labelList xmlns:clbl="http://schemas.microsoft.com/office/2020/mipLabelMetadata">
  <clbl:label id="{f743b317-4758-44cb-8b65-8b43e4619766}" enabled="1" method="Standard" siteId="{fdfed7bd-9f6a-44a1-b694-6e39c468c150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</TotalTime>
  <Words>168</Words>
  <Application>Microsoft Office PowerPoint</Application>
  <PresentationFormat>On-screen Show (4:3)</PresentationFormat>
  <Paragraphs>3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 Theme</vt:lpstr>
      <vt:lpstr>think-cell Slide</vt:lpstr>
      <vt:lpstr>القديسة ماري الفونسين وفضيلة الإيمان</vt:lpstr>
      <vt:lpstr>من هي القديسة ماري الفونسين؟</vt:lpstr>
      <vt:lpstr>معنى فضيلة الإيمان</vt:lpstr>
      <vt:lpstr>كيف عاشت القديسة ماري الفونسين الإيمان؟</vt:lpstr>
      <vt:lpstr>أهمية الإيمان في حياتنا المسيحية</vt:lpstr>
      <vt:lpstr>كيف أعيش فضيلة الإيمان يومياً؟</vt:lpstr>
      <vt:lpstr>موقف طبّقت فيه الإيمان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>generated using python-pptx</dc:description>
  <cp:lastModifiedBy>Lenovo</cp:lastModifiedBy>
  <cp:revision>5</cp:revision>
  <dcterms:created xsi:type="dcterms:W3CDTF">2013-01-27T09:14:16Z</dcterms:created>
  <dcterms:modified xsi:type="dcterms:W3CDTF">2025-11-16T10:37:26Z</dcterms:modified>
  <cp:category/>
</cp:coreProperties>
</file>